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4"/>
  </p:sldMasterIdLst>
  <p:sldIdLst>
    <p:sldId id="256" r:id="rId5"/>
    <p:sldId id="257" r:id="rId6"/>
    <p:sldId id="258" r:id="rId7"/>
    <p:sldId id="259" r:id="rId8"/>
    <p:sldId id="260" r:id="rId9"/>
    <p:sldId id="261" r:id="rId10"/>
    <p:sldId id="262" r:id="rId11"/>
    <p:sldId id="263" r:id="rId12"/>
    <p:sldId id="264" r:id="rId13"/>
    <p:sldId id="265" r:id="rId14"/>
  </p:sldIdLst>
  <p:sldSz cx="7772400" cy="10058400"/>
  <p:notesSz cx="7772400" cy="10058400"/>
  <p:defaultTextStyle>
    <a:defPPr>
      <a:defRPr kern="0"/>
    </a:defPPr>
  </p:defaultTextStyle>
  <p:extLst>
    <p:ext uri="{EFAFB233-063F-42B5-8137-9DF3F51BA10A}">
      <p15:sldGuideLst xmlns:p15="http://schemas.microsoft.com/office/powerpoint/2012/main">
        <p15:guide id="1" orient="horz" pos="2873" userDrawn="1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243" autoAdjust="0"/>
    <p:restoredTop sz="94694" autoAdjust="0"/>
  </p:normalViewPr>
  <p:slideViewPr>
    <p:cSldViewPr snapToGrid="0">
      <p:cViewPr>
        <p:scale>
          <a:sx n="128" d="100"/>
          <a:sy n="128" d="100"/>
        </p:scale>
        <p:origin x="952" y="-2672"/>
      </p:cViewPr>
      <p:guideLst>
        <p:guide orient="horz" pos="2873"/>
        <p:guide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77520" y="1829828"/>
            <a:ext cx="6826568" cy="12814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700" b="0" i="0">
                <a:solidFill>
                  <a:srgbClr val="1E7DED"/>
                </a:solidFill>
                <a:latin typeface="Alliance No.2 Medium"/>
                <a:cs typeface="Alliance No.2 Medium"/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477520" y="3579812"/>
            <a:ext cx="6826568" cy="53721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>
              <a:defRPr/>
            </a:lvl1pPr>
          </a:lstStyle>
          <a:p>
            <a:endParaRPr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userDrawn="1">
          <p15:clr>
            <a:srgbClr val="BFBFBF"/>
          </p15:clr>
        </p15:guide>
        <p15:guide id="2" pos="4896" userDrawn="1">
          <p15:clr>
            <a:srgbClr val="BFBFBF"/>
          </p15:clr>
        </p15:guide>
        <p15:guide id="3" pos="294" userDrawn="1">
          <p15:clr>
            <a:srgbClr val="BFBFBF"/>
          </p15:clr>
        </p15:guide>
        <p15:guide id="4" pos="753" userDrawn="1">
          <p15:clr>
            <a:srgbClr val="BFBFBF"/>
          </p15:clr>
        </p15:guide>
        <p15:guide id="5" pos="844" userDrawn="1">
          <p15:clr>
            <a:srgbClr val="BFBFBF"/>
          </p15:clr>
        </p15:guide>
        <p15:guide id="6" pos="1303" userDrawn="1">
          <p15:clr>
            <a:srgbClr val="BFBFBF"/>
          </p15:clr>
        </p15:guide>
        <p15:guide id="7" pos="1394" userDrawn="1">
          <p15:clr>
            <a:srgbClr val="BFBFBF"/>
          </p15:clr>
        </p15:guide>
        <p15:guide id="8" pos="1853" userDrawn="1">
          <p15:clr>
            <a:srgbClr val="BFBFBF"/>
          </p15:clr>
        </p15:guide>
        <p15:guide id="9" pos="1943" userDrawn="1">
          <p15:clr>
            <a:srgbClr val="BFBFBF"/>
          </p15:clr>
        </p15:guide>
        <p15:guide id="10" pos="2402" userDrawn="1">
          <p15:clr>
            <a:srgbClr val="BFBFBF"/>
          </p15:clr>
        </p15:guide>
        <p15:guide id="11" pos="2493" userDrawn="1">
          <p15:clr>
            <a:srgbClr val="BFBFBF"/>
          </p15:clr>
        </p15:guide>
        <p15:guide id="12" pos="2952" userDrawn="1">
          <p15:clr>
            <a:srgbClr val="BFBFBF"/>
          </p15:clr>
        </p15:guide>
        <p15:guide id="13" pos="3042" userDrawn="1">
          <p15:clr>
            <a:srgbClr val="BFBFBF"/>
          </p15:clr>
        </p15:guide>
        <p15:guide id="14" pos="3501" userDrawn="1">
          <p15:clr>
            <a:srgbClr val="BFBFBF"/>
          </p15:clr>
        </p15:guide>
        <p15:guide id="15" pos="3592" userDrawn="1">
          <p15:clr>
            <a:srgbClr val="BFBFBF"/>
          </p15:clr>
        </p15:guide>
        <p15:guide id="16" pos="4051" userDrawn="1">
          <p15:clr>
            <a:srgbClr val="BFBFBF"/>
          </p15:clr>
        </p15:guide>
        <p15:guide id="17" pos="4142" userDrawn="1">
          <p15:clr>
            <a:srgbClr val="BFBFBF"/>
          </p15:clr>
        </p15:guide>
        <p15:guide id="18" pos="4601" userDrawn="1">
          <p15:clr>
            <a:srgbClr val="BFBFBF"/>
          </p15:clr>
        </p15:guide>
        <p15:guide id="19" orient="horz" userDrawn="1">
          <p15:clr>
            <a:srgbClr val="BFBFBF"/>
          </p15:clr>
        </p15:guide>
        <p15:guide id="20" orient="horz" pos="6336" userDrawn="1">
          <p15:clr>
            <a:srgbClr val="BFBFBF"/>
          </p15:clr>
        </p15:guide>
        <p15:guide id="21" orient="horz" pos="294" userDrawn="1">
          <p15:clr>
            <a:srgbClr val="BFBFBF"/>
          </p15:clr>
        </p15:guide>
        <p15:guide id="22" orient="horz" pos="1139" userDrawn="1">
          <p15:clr>
            <a:srgbClr val="BFBFBF"/>
          </p15:clr>
        </p15:guide>
        <p15:guide id="23" orient="horz" pos="1275" userDrawn="1">
          <p15:clr>
            <a:srgbClr val="BFBFBF"/>
          </p15:clr>
        </p15:guide>
        <p15:guide id="24" orient="horz" pos="2119" userDrawn="1">
          <p15:clr>
            <a:srgbClr val="BFBFBF"/>
          </p15:clr>
        </p15:guide>
        <p15:guide id="25" orient="horz" pos="2255" userDrawn="1">
          <p15:clr>
            <a:srgbClr val="BFBFBF"/>
          </p15:clr>
        </p15:guide>
        <p15:guide id="26" orient="horz" pos="3099" userDrawn="1">
          <p15:clr>
            <a:srgbClr val="BFBFBF"/>
          </p15:clr>
        </p15:guide>
        <p15:guide id="27" orient="horz" pos="3236" userDrawn="1">
          <p15:clr>
            <a:srgbClr val="BFBFBF"/>
          </p15:clr>
        </p15:guide>
        <p15:guide id="28" orient="horz" pos="4080" userDrawn="1">
          <p15:clr>
            <a:srgbClr val="BFBFBF"/>
          </p15:clr>
        </p15:guide>
        <p15:guide id="29" orient="horz" pos="4216" userDrawn="1">
          <p15:clr>
            <a:srgbClr val="BFBFBF"/>
          </p15:clr>
        </p15:guide>
        <p15:guide id="30" orient="horz" pos="5060" userDrawn="1">
          <p15:clr>
            <a:srgbClr val="BFBFBF"/>
          </p15:clr>
        </p15:guide>
        <p15:guide id="31" orient="horz" pos="5196" userDrawn="1">
          <p15:clr>
            <a:srgbClr val="BFBFBF"/>
          </p15:clr>
        </p15:guide>
        <p15:guide id="32" orient="horz" pos="6041" userDrawn="1">
          <p15:clr>
            <a:srgbClr val="BFBFBF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13" Type="http://schemas.openxmlformats.org/officeDocument/2006/relationships/image" Target="../media/image7.svg"/><Relationship Id="rId3" Type="http://schemas.openxmlformats.org/officeDocument/2006/relationships/tags" Target="../tags/tag3.xml"/><Relationship Id="rId7" Type="http://schemas.openxmlformats.org/officeDocument/2006/relationships/image" Target="../media/image1.png"/><Relationship Id="rId12" Type="http://schemas.openxmlformats.org/officeDocument/2006/relationships/image" Target="../media/image6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1.xml"/><Relationship Id="rId11" Type="http://schemas.openxmlformats.org/officeDocument/2006/relationships/image" Target="../media/image5.png"/><Relationship Id="rId5" Type="http://schemas.openxmlformats.org/officeDocument/2006/relationships/tags" Target="../tags/tag5.xml"/><Relationship Id="rId15" Type="http://schemas.openxmlformats.org/officeDocument/2006/relationships/image" Target="../media/image8.emf"/><Relationship Id="rId10" Type="http://schemas.openxmlformats.org/officeDocument/2006/relationships/image" Target="../media/image4.png"/><Relationship Id="rId4" Type="http://schemas.openxmlformats.org/officeDocument/2006/relationships/tags" Target="../tags/tag4.xml"/><Relationship Id="rId9" Type="http://schemas.openxmlformats.org/officeDocument/2006/relationships/image" Target="../media/image3.png"/><Relationship Id="rId14" Type="http://schemas.openxmlformats.org/officeDocument/2006/relationships/hyperlink" Target="mailto:johnsmith@spacecenter.org" TargetMode="Externa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6.png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35.png"/><Relationship Id="rId5" Type="http://schemas.openxmlformats.org/officeDocument/2006/relationships/hyperlink" Target="mailto:johnsmith@spacecenter.org" TargetMode="External"/><Relationship Id="rId4" Type="http://schemas.openxmlformats.org/officeDocument/2006/relationships/image" Target="../media/image3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hyperlink" Target="mailto:johnsmith@spacecenter.org" TargetMode="External"/><Relationship Id="rId3" Type="http://schemas.openxmlformats.org/officeDocument/2006/relationships/tags" Target="../tags/tag8.xml"/><Relationship Id="rId7" Type="http://schemas.openxmlformats.org/officeDocument/2006/relationships/slideLayout" Target="../slideLayouts/slideLayout1.xml"/><Relationship Id="rId12" Type="http://schemas.openxmlformats.org/officeDocument/2006/relationships/image" Target="../media/image7.svg"/><Relationship Id="rId2" Type="http://schemas.openxmlformats.org/officeDocument/2006/relationships/tags" Target="../tags/tag7.xml"/><Relationship Id="rId16" Type="http://schemas.openxmlformats.org/officeDocument/2006/relationships/image" Target="../media/image8.emf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image" Target="../media/image6.png"/><Relationship Id="rId5" Type="http://schemas.openxmlformats.org/officeDocument/2006/relationships/tags" Target="../tags/tag10.xml"/><Relationship Id="rId15" Type="http://schemas.openxmlformats.org/officeDocument/2006/relationships/image" Target="../media/image13.png"/><Relationship Id="rId10" Type="http://schemas.openxmlformats.org/officeDocument/2006/relationships/image" Target="../media/image11.png"/><Relationship Id="rId4" Type="http://schemas.openxmlformats.org/officeDocument/2006/relationships/tags" Target="../tags/tag9.xml"/><Relationship Id="rId9" Type="http://schemas.openxmlformats.org/officeDocument/2006/relationships/image" Target="../media/image10.png"/><Relationship Id="rId14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13" Type="http://schemas.openxmlformats.org/officeDocument/2006/relationships/image" Target="../media/image18.png"/><Relationship Id="rId18" Type="http://schemas.openxmlformats.org/officeDocument/2006/relationships/image" Target="../media/image8.emf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12" Type="http://schemas.openxmlformats.org/officeDocument/2006/relationships/image" Target="../media/image17.jpeg"/><Relationship Id="rId17" Type="http://schemas.openxmlformats.org/officeDocument/2006/relationships/image" Target="../media/image10.png"/><Relationship Id="rId2" Type="http://schemas.openxmlformats.org/officeDocument/2006/relationships/tags" Target="../tags/tag13.xml"/><Relationship Id="rId16" Type="http://schemas.openxmlformats.org/officeDocument/2006/relationships/image" Target="../media/image20.png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11" Type="http://schemas.openxmlformats.org/officeDocument/2006/relationships/image" Target="../media/image16.jpeg"/><Relationship Id="rId5" Type="http://schemas.openxmlformats.org/officeDocument/2006/relationships/tags" Target="../tags/tag16.xml"/><Relationship Id="rId15" Type="http://schemas.openxmlformats.org/officeDocument/2006/relationships/hyperlink" Target="mailto:johnsmith@spacecenter.org" TargetMode="External"/><Relationship Id="rId10" Type="http://schemas.openxmlformats.org/officeDocument/2006/relationships/image" Target="../media/image15.jpeg"/><Relationship Id="rId4" Type="http://schemas.openxmlformats.org/officeDocument/2006/relationships/tags" Target="../tags/tag15.xml"/><Relationship Id="rId9" Type="http://schemas.openxmlformats.org/officeDocument/2006/relationships/image" Target="../media/image14.png"/><Relationship Id="rId14" Type="http://schemas.openxmlformats.org/officeDocument/2006/relationships/image" Target="../media/image19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slideLayout" Target="../slideLayouts/slideLayout1.xml"/><Relationship Id="rId7" Type="http://schemas.openxmlformats.org/officeDocument/2006/relationships/hyperlink" Target="mailto:johnsmith@spacecenter.org" TargetMode="Externa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10.png"/><Relationship Id="rId5" Type="http://schemas.openxmlformats.org/officeDocument/2006/relationships/image" Target="../media/image20.png"/><Relationship Id="rId4" Type="http://schemas.openxmlformats.org/officeDocument/2006/relationships/image" Target="../media/image2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23.xml"/><Relationship Id="rId7" Type="http://schemas.openxmlformats.org/officeDocument/2006/relationships/hyperlink" Target="mailto:johnsmith@spacecenter.org" TargetMode="Externa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10" Type="http://schemas.openxmlformats.org/officeDocument/2006/relationships/image" Target="../media/image8.emf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20.png"/><Relationship Id="rId3" Type="http://schemas.openxmlformats.org/officeDocument/2006/relationships/tags" Target="../tags/tag26.xml"/><Relationship Id="rId7" Type="http://schemas.openxmlformats.org/officeDocument/2006/relationships/image" Target="../media/image24.png"/><Relationship Id="rId12" Type="http://schemas.openxmlformats.org/officeDocument/2006/relationships/hyperlink" Target="mailto:johnsmith@spacecenter.org" TargetMode="Externa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slideLayout" Target="../slideLayouts/slideLayout1.xml"/><Relationship Id="rId11" Type="http://schemas.openxmlformats.org/officeDocument/2006/relationships/image" Target="../media/image26.png"/><Relationship Id="rId5" Type="http://schemas.openxmlformats.org/officeDocument/2006/relationships/tags" Target="../tags/tag28.xml"/><Relationship Id="rId15" Type="http://schemas.openxmlformats.org/officeDocument/2006/relationships/image" Target="../media/image8.emf"/><Relationship Id="rId10" Type="http://schemas.openxmlformats.org/officeDocument/2006/relationships/image" Target="../media/image7.svg"/><Relationship Id="rId4" Type="http://schemas.openxmlformats.org/officeDocument/2006/relationships/tags" Target="../tags/tag27.xml"/><Relationship Id="rId9" Type="http://schemas.openxmlformats.org/officeDocument/2006/relationships/image" Target="../media/image6.png"/><Relationship Id="rId1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7.svg"/><Relationship Id="rId3" Type="http://schemas.openxmlformats.org/officeDocument/2006/relationships/tags" Target="../tags/tag31.xml"/><Relationship Id="rId7" Type="http://schemas.openxmlformats.org/officeDocument/2006/relationships/image" Target="../media/image24.png"/><Relationship Id="rId12" Type="http://schemas.openxmlformats.org/officeDocument/2006/relationships/image" Target="../media/image6.png"/><Relationship Id="rId2" Type="http://schemas.openxmlformats.org/officeDocument/2006/relationships/tags" Target="../tags/tag30.xml"/><Relationship Id="rId16" Type="http://schemas.openxmlformats.org/officeDocument/2006/relationships/image" Target="../media/image8.emf"/><Relationship Id="rId1" Type="http://schemas.openxmlformats.org/officeDocument/2006/relationships/tags" Target="../tags/tag29.xml"/><Relationship Id="rId6" Type="http://schemas.openxmlformats.org/officeDocument/2006/relationships/slideLayout" Target="../slideLayouts/slideLayout1.xml"/><Relationship Id="rId11" Type="http://schemas.openxmlformats.org/officeDocument/2006/relationships/image" Target="../media/image25.png"/><Relationship Id="rId5" Type="http://schemas.openxmlformats.org/officeDocument/2006/relationships/tags" Target="../tags/tag33.xml"/><Relationship Id="rId15" Type="http://schemas.openxmlformats.org/officeDocument/2006/relationships/hyperlink" Target="mailto:johnsmith@spacecenter.org" TargetMode="External"/><Relationship Id="rId10" Type="http://schemas.openxmlformats.org/officeDocument/2006/relationships/image" Target="../media/image5.png"/><Relationship Id="rId4" Type="http://schemas.openxmlformats.org/officeDocument/2006/relationships/tags" Target="../tags/tag32.xml"/><Relationship Id="rId9" Type="http://schemas.openxmlformats.org/officeDocument/2006/relationships/image" Target="../media/image28.png"/><Relationship Id="rId14" Type="http://schemas.openxmlformats.org/officeDocument/2006/relationships/image" Target="../media/image2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tags" Target="../tags/tag36.xml"/><Relationship Id="rId7" Type="http://schemas.openxmlformats.org/officeDocument/2006/relationships/image" Target="../media/image10.pn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20.png"/><Relationship Id="rId11" Type="http://schemas.openxmlformats.org/officeDocument/2006/relationships/image" Target="../media/image8.emf"/><Relationship Id="rId5" Type="http://schemas.openxmlformats.org/officeDocument/2006/relationships/slideLayout" Target="../slideLayouts/slideLayout1.xml"/><Relationship Id="rId10" Type="http://schemas.openxmlformats.org/officeDocument/2006/relationships/hyperlink" Target="mailto:johnsmith@spacecenter.org" TargetMode="External"/><Relationship Id="rId4" Type="http://schemas.openxmlformats.org/officeDocument/2006/relationships/tags" Target="../tags/tag37.xml"/><Relationship Id="rId9" Type="http://schemas.openxmlformats.org/officeDocument/2006/relationships/image" Target="../media/image3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8.emf"/><Relationship Id="rId3" Type="http://schemas.openxmlformats.org/officeDocument/2006/relationships/tags" Target="../tags/tag40.xml"/><Relationship Id="rId7" Type="http://schemas.openxmlformats.org/officeDocument/2006/relationships/image" Target="../media/image28.png"/><Relationship Id="rId12" Type="http://schemas.openxmlformats.org/officeDocument/2006/relationships/hyperlink" Target="mailto:johnsmith@spacecenter.org" TargetMode="Externa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slideLayout" Target="../slideLayouts/slideLayout1.xml"/><Relationship Id="rId11" Type="http://schemas.openxmlformats.org/officeDocument/2006/relationships/image" Target="../media/image33.svg"/><Relationship Id="rId5" Type="http://schemas.openxmlformats.org/officeDocument/2006/relationships/tags" Target="../tags/tag42.xml"/><Relationship Id="rId10" Type="http://schemas.openxmlformats.org/officeDocument/2006/relationships/image" Target="../media/image32.png"/><Relationship Id="rId4" Type="http://schemas.openxmlformats.org/officeDocument/2006/relationships/tags" Target="../tags/tag41.xml"/><Relationship Id="rId9" Type="http://schemas.openxmlformats.org/officeDocument/2006/relationships/image" Target="../media/image3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0" y="0"/>
            <a:ext cx="7772400" cy="4228465"/>
          </a:xfrm>
          <a:custGeom>
            <a:avLst/>
            <a:gdLst/>
            <a:ahLst/>
            <a:cxnLst/>
            <a:rect l="l" t="t" r="r" b="b"/>
            <a:pathLst>
              <a:path w="7772400" h="4228465">
                <a:moveTo>
                  <a:pt x="7772400" y="0"/>
                </a:moveTo>
                <a:lnTo>
                  <a:pt x="0" y="0"/>
                </a:lnTo>
                <a:lnTo>
                  <a:pt x="0" y="4228414"/>
                </a:lnTo>
                <a:lnTo>
                  <a:pt x="7772400" y="4228414"/>
                </a:lnTo>
                <a:lnTo>
                  <a:pt x="7772400" y="0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4" name="object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33734" y="3068789"/>
            <a:ext cx="2472615" cy="3011336"/>
          </a:xfrm>
          <a:prstGeom prst="roundRect">
            <a:avLst>
              <a:gd name="adj" fmla="val 4649"/>
            </a:avLst>
          </a:prstGeom>
        </p:spPr>
      </p:pic>
      <p:pic>
        <p:nvPicPr>
          <p:cNvPr id="5" name="object 5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33734" y="6326058"/>
            <a:ext cx="2475116" cy="1915104"/>
          </a:xfrm>
          <a:prstGeom prst="roundRect">
            <a:avLst>
              <a:gd name="adj" fmla="val 7318"/>
            </a:avLst>
          </a:prstGeom>
          <a:ln>
            <a:noFill/>
          </a:ln>
        </p:spPr>
      </p:pic>
      <p:pic>
        <p:nvPicPr>
          <p:cNvPr id="6" name="object 6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31353" y="8487096"/>
            <a:ext cx="1117053" cy="1103172"/>
          </a:xfrm>
          <a:prstGeom prst="roundRect">
            <a:avLst>
              <a:gd name="adj" fmla="val 12715"/>
            </a:avLst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758F6F7A-F800-3E8A-AE46-77746F42A7D3}"/>
              </a:ext>
            </a:extLst>
          </p:cNvPr>
          <p:cNvGrpSpPr/>
          <p:nvPr/>
        </p:nvGrpSpPr>
        <p:grpSpPr>
          <a:xfrm>
            <a:off x="6076413" y="451441"/>
            <a:ext cx="1237158" cy="548876"/>
            <a:chOff x="6076413" y="451441"/>
            <a:chExt cx="1237158" cy="548876"/>
          </a:xfrm>
        </p:grpSpPr>
        <p:pic>
          <p:nvPicPr>
            <p:cNvPr id="8" name="object 8"/>
            <p:cNvPicPr/>
            <p:nvPr>
              <p:custDataLst>
                <p:tags r:id="rId5"/>
              </p:custDataLst>
            </p:nvPr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503917" y="470913"/>
              <a:ext cx="809654" cy="529404"/>
            </a:xfrm>
            <a:prstGeom prst="rect">
              <a:avLst/>
            </a:prstGeom>
          </p:spPr>
        </p:pic>
        <p:grpSp>
          <p:nvGrpSpPr>
            <p:cNvPr id="9" name="object 9"/>
            <p:cNvGrpSpPr/>
            <p:nvPr/>
          </p:nvGrpSpPr>
          <p:grpSpPr>
            <a:xfrm>
              <a:off x="6076413" y="451441"/>
              <a:ext cx="353695" cy="383540"/>
              <a:chOff x="6076413" y="451441"/>
              <a:chExt cx="353695" cy="383540"/>
            </a:xfrm>
          </p:grpSpPr>
          <p:pic>
            <p:nvPicPr>
              <p:cNvPr id="10" name="object 10"/>
              <p:cNvPicPr/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193567" y="583707"/>
                <a:ext cx="118986" cy="118986"/>
              </a:xfrm>
              <a:prstGeom prst="rect">
                <a:avLst/>
              </a:prstGeom>
            </p:spPr>
          </p:pic>
          <p:sp>
            <p:nvSpPr>
              <p:cNvPr id="11" name="object 11"/>
              <p:cNvSpPr/>
              <p:nvPr/>
            </p:nvSpPr>
            <p:spPr>
              <a:xfrm>
                <a:off x="6076404" y="451446"/>
                <a:ext cx="353695" cy="383540"/>
              </a:xfrm>
              <a:custGeom>
                <a:avLst/>
                <a:gdLst/>
                <a:ahLst/>
                <a:cxnLst/>
                <a:rect l="l" t="t" r="r" b="b"/>
                <a:pathLst>
                  <a:path w="353695" h="383540">
                    <a:moveTo>
                      <a:pt x="289648" y="92748"/>
                    </a:moveTo>
                    <a:lnTo>
                      <a:pt x="231648" y="53365"/>
                    </a:lnTo>
                    <a:lnTo>
                      <a:pt x="178650" y="27279"/>
                    </a:lnTo>
                    <a:lnTo>
                      <a:pt x="129768" y="9791"/>
                    </a:lnTo>
                    <a:lnTo>
                      <a:pt x="86499" y="736"/>
                    </a:lnTo>
                    <a:lnTo>
                      <a:pt x="50330" y="0"/>
                    </a:lnTo>
                    <a:lnTo>
                      <a:pt x="22758" y="7416"/>
                    </a:lnTo>
                    <a:lnTo>
                      <a:pt x="5257" y="22821"/>
                    </a:lnTo>
                    <a:lnTo>
                      <a:pt x="0" y="55778"/>
                    </a:lnTo>
                    <a:lnTo>
                      <a:pt x="16421" y="97129"/>
                    </a:lnTo>
                    <a:lnTo>
                      <a:pt x="51752" y="143167"/>
                    </a:lnTo>
                    <a:lnTo>
                      <a:pt x="103263" y="190169"/>
                    </a:lnTo>
                    <a:lnTo>
                      <a:pt x="104940" y="191477"/>
                    </a:lnTo>
                    <a:lnTo>
                      <a:pt x="107327" y="191350"/>
                    </a:lnTo>
                    <a:lnTo>
                      <a:pt x="108839" y="189839"/>
                    </a:lnTo>
                    <a:lnTo>
                      <a:pt x="110642" y="188036"/>
                    </a:lnTo>
                    <a:lnTo>
                      <a:pt x="110604" y="185331"/>
                    </a:lnTo>
                    <a:lnTo>
                      <a:pt x="108889" y="183692"/>
                    </a:lnTo>
                    <a:lnTo>
                      <a:pt x="74091" y="145834"/>
                    </a:lnTo>
                    <a:lnTo>
                      <a:pt x="51130" y="110007"/>
                    </a:lnTo>
                    <a:lnTo>
                      <a:pt x="41567" y="78333"/>
                    </a:lnTo>
                    <a:lnTo>
                      <a:pt x="47002" y="52908"/>
                    </a:lnTo>
                    <a:lnTo>
                      <a:pt x="71132" y="35496"/>
                    </a:lnTo>
                    <a:lnTo>
                      <a:pt x="110528" y="31724"/>
                    </a:lnTo>
                    <a:lnTo>
                      <a:pt x="161417" y="40906"/>
                    </a:lnTo>
                    <a:lnTo>
                      <a:pt x="220052" y="62293"/>
                    </a:lnTo>
                    <a:lnTo>
                      <a:pt x="284314" y="96202"/>
                    </a:lnTo>
                    <a:lnTo>
                      <a:pt x="286448" y="95961"/>
                    </a:lnTo>
                    <a:lnTo>
                      <a:pt x="289648" y="92748"/>
                    </a:lnTo>
                    <a:close/>
                  </a:path>
                  <a:path w="353695" h="383540">
                    <a:moveTo>
                      <a:pt x="353301" y="327723"/>
                    </a:moveTo>
                    <a:lnTo>
                      <a:pt x="336880" y="286372"/>
                    </a:lnTo>
                    <a:lnTo>
                      <a:pt x="301548" y="240347"/>
                    </a:lnTo>
                    <a:lnTo>
                      <a:pt x="250050" y="193344"/>
                    </a:lnTo>
                    <a:lnTo>
                      <a:pt x="248373" y="192024"/>
                    </a:lnTo>
                    <a:lnTo>
                      <a:pt x="245986" y="192163"/>
                    </a:lnTo>
                    <a:lnTo>
                      <a:pt x="242671" y="195465"/>
                    </a:lnTo>
                    <a:lnTo>
                      <a:pt x="242709" y="198183"/>
                    </a:lnTo>
                    <a:lnTo>
                      <a:pt x="244424" y="199809"/>
                    </a:lnTo>
                    <a:lnTo>
                      <a:pt x="279209" y="237680"/>
                    </a:lnTo>
                    <a:lnTo>
                      <a:pt x="302183" y="273494"/>
                    </a:lnTo>
                    <a:lnTo>
                      <a:pt x="311734" y="305168"/>
                    </a:lnTo>
                    <a:lnTo>
                      <a:pt x="306311" y="330593"/>
                    </a:lnTo>
                    <a:lnTo>
                      <a:pt x="282181" y="348018"/>
                    </a:lnTo>
                    <a:lnTo>
                      <a:pt x="242785" y="351790"/>
                    </a:lnTo>
                    <a:lnTo>
                      <a:pt x="191884" y="342620"/>
                    </a:lnTo>
                    <a:lnTo>
                      <a:pt x="133248" y="321221"/>
                    </a:lnTo>
                    <a:lnTo>
                      <a:pt x="68986" y="287299"/>
                    </a:lnTo>
                    <a:lnTo>
                      <a:pt x="66865" y="287553"/>
                    </a:lnTo>
                    <a:lnTo>
                      <a:pt x="63652" y="290753"/>
                    </a:lnTo>
                    <a:lnTo>
                      <a:pt x="63893" y="293827"/>
                    </a:lnTo>
                    <a:lnTo>
                      <a:pt x="121653" y="330149"/>
                    </a:lnTo>
                    <a:lnTo>
                      <a:pt x="174663" y="356235"/>
                    </a:lnTo>
                    <a:lnTo>
                      <a:pt x="223532" y="373722"/>
                    </a:lnTo>
                    <a:lnTo>
                      <a:pt x="266801" y="382765"/>
                    </a:lnTo>
                    <a:lnTo>
                      <a:pt x="302971" y="383514"/>
                    </a:lnTo>
                    <a:lnTo>
                      <a:pt x="330542" y="376097"/>
                    </a:lnTo>
                    <a:lnTo>
                      <a:pt x="348043" y="360680"/>
                    </a:lnTo>
                    <a:lnTo>
                      <a:pt x="353301" y="327723"/>
                    </a:lnTo>
                    <a:close/>
                  </a:path>
                </a:pathLst>
              </a:custGeom>
              <a:solidFill>
                <a:srgbClr val="FFFFFF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</p:grpSp>
      <p:sp>
        <p:nvSpPr>
          <p:cNvPr id="12" name="object 12"/>
          <p:cNvSpPr txBox="1"/>
          <p:nvPr/>
        </p:nvSpPr>
        <p:spPr>
          <a:xfrm>
            <a:off x="469659" y="3516275"/>
            <a:ext cx="4241248" cy="483184"/>
          </a:xfrm>
          <a:prstGeom prst="rect">
            <a:avLst/>
          </a:prstGeom>
        </p:spPr>
        <p:txBody>
          <a:bodyPr vert="horz" wrap="square" lIns="0" tIns="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sz="1400" dirty="0">
                <a:solidFill>
                  <a:srgbClr val="FFFFFF"/>
                </a:solidFill>
                <a:latin typeface="Alliance No.2"/>
                <a:cs typeface="Alliance No.2"/>
              </a:rPr>
              <a:t>Lorem</a:t>
            </a:r>
            <a:r>
              <a:rPr sz="1400" spc="-15" dirty="0">
                <a:solidFill>
                  <a:srgbClr val="FFFFFF"/>
                </a:solidFill>
                <a:latin typeface="Alliance No.2"/>
                <a:cs typeface="Alliance No.2"/>
              </a:rPr>
              <a:t> </a:t>
            </a:r>
            <a:r>
              <a:rPr sz="1400" dirty="0">
                <a:solidFill>
                  <a:srgbClr val="FFFFFF"/>
                </a:solidFill>
                <a:latin typeface="Alliance No.2"/>
                <a:cs typeface="Alliance No.2"/>
              </a:rPr>
              <a:t>ipsum</a:t>
            </a:r>
            <a:r>
              <a:rPr sz="1400" spc="-15" dirty="0">
                <a:solidFill>
                  <a:srgbClr val="FFFFFF"/>
                </a:solidFill>
                <a:latin typeface="Alliance No.2"/>
                <a:cs typeface="Alliance No.2"/>
              </a:rPr>
              <a:t> </a:t>
            </a:r>
            <a:r>
              <a:rPr sz="1400" dirty="0">
                <a:solidFill>
                  <a:srgbClr val="FFFFFF"/>
                </a:solidFill>
                <a:latin typeface="Alliance No.2"/>
                <a:cs typeface="Alliance No.2"/>
              </a:rPr>
              <a:t>dolor</a:t>
            </a:r>
            <a:r>
              <a:rPr sz="1400" spc="-15" dirty="0">
                <a:solidFill>
                  <a:srgbClr val="FFFFFF"/>
                </a:solidFill>
                <a:latin typeface="Alliance No.2"/>
                <a:cs typeface="Alliance No.2"/>
              </a:rPr>
              <a:t> </a:t>
            </a:r>
            <a:r>
              <a:rPr sz="1400" dirty="0">
                <a:solidFill>
                  <a:srgbClr val="FFFFFF"/>
                </a:solidFill>
                <a:latin typeface="Alliance No.2"/>
                <a:cs typeface="Alliance No.2"/>
              </a:rPr>
              <a:t>sit</a:t>
            </a:r>
            <a:r>
              <a:rPr sz="1400" spc="-10" dirty="0">
                <a:solidFill>
                  <a:srgbClr val="FFFFFF"/>
                </a:solidFill>
                <a:latin typeface="Alliance No.2"/>
                <a:cs typeface="Alliance No.2"/>
              </a:rPr>
              <a:t> </a:t>
            </a:r>
            <a:r>
              <a:rPr sz="1400" spc="-20" dirty="0" err="1">
                <a:solidFill>
                  <a:srgbClr val="FFFFFF"/>
                </a:solidFill>
                <a:latin typeface="Alliance No.2"/>
                <a:cs typeface="Alliance No.2"/>
              </a:rPr>
              <a:t>amet</a:t>
            </a:r>
            <a:endParaRPr sz="1400" dirty="0">
              <a:latin typeface="Alliance No.2"/>
              <a:cs typeface="Alliance No.2"/>
            </a:endParaRPr>
          </a:p>
        </p:txBody>
      </p:sp>
      <p:sp>
        <p:nvSpPr>
          <p:cNvPr id="13" name="object 13"/>
          <p:cNvSpPr txBox="1">
            <a:spLocks noGrp="1"/>
          </p:cNvSpPr>
          <p:nvPr>
            <p:ph type="title" idx="4294967295"/>
          </p:nvPr>
        </p:nvSpPr>
        <p:spPr>
          <a:xfrm>
            <a:off x="469659" y="914400"/>
            <a:ext cx="5219700" cy="1860550"/>
          </a:xfrm>
          <a:prstGeom prst="rect">
            <a:avLst/>
          </a:prstGeom>
        </p:spPr>
        <p:txBody>
          <a:bodyPr vert="horz" wrap="square" lIns="0" tIns="0" rIns="0" bIns="0" rtlCol="0" anchor="t">
            <a:normAutofit/>
          </a:bodyPr>
          <a:lstStyle/>
          <a:p>
            <a:pPr marR="5080">
              <a:lnSpc>
                <a:spcPts val="6450"/>
              </a:lnSpc>
            </a:pPr>
            <a:r>
              <a:rPr sz="6650" b="0" spc="-155" dirty="0">
                <a:solidFill>
                  <a:srgbClr val="FFFFFF"/>
                </a:solidFill>
                <a:latin typeface="Alliance No.2"/>
                <a:cs typeface="Alliance No.2"/>
              </a:rPr>
              <a:t>Lorem</a:t>
            </a:r>
            <a:r>
              <a:rPr sz="6650" b="0" spc="-275" dirty="0">
                <a:solidFill>
                  <a:srgbClr val="FFFFFF"/>
                </a:solidFill>
                <a:latin typeface="Alliance No.2"/>
                <a:cs typeface="Alliance No.2"/>
              </a:rPr>
              <a:t> </a:t>
            </a:r>
            <a:r>
              <a:rPr sz="6650" b="0" spc="-10" dirty="0">
                <a:solidFill>
                  <a:srgbClr val="FFFFFF"/>
                </a:solidFill>
                <a:latin typeface="Alliance No.2"/>
                <a:cs typeface="Alliance No.2"/>
              </a:rPr>
              <a:t>ipsum </a:t>
            </a:r>
            <a:r>
              <a:rPr sz="6650" b="0" spc="-110" dirty="0">
                <a:solidFill>
                  <a:srgbClr val="FFFFFF"/>
                </a:solidFill>
                <a:latin typeface="Alliance No.2"/>
                <a:cs typeface="Alliance No.2"/>
              </a:rPr>
              <a:t>dolor</a:t>
            </a:r>
            <a:r>
              <a:rPr sz="6650" b="0" spc="-270" dirty="0">
                <a:solidFill>
                  <a:srgbClr val="FFFFFF"/>
                </a:solidFill>
                <a:latin typeface="Alliance No.2"/>
                <a:cs typeface="Alliance No.2"/>
              </a:rPr>
              <a:t> </a:t>
            </a:r>
            <a:r>
              <a:rPr sz="6650" b="0" spc="-85" dirty="0">
                <a:solidFill>
                  <a:srgbClr val="FFFFFF"/>
                </a:solidFill>
                <a:latin typeface="Alliance No.2"/>
                <a:cs typeface="Alliance No.2"/>
              </a:rPr>
              <a:t>sit</a:t>
            </a:r>
            <a:r>
              <a:rPr sz="6650" b="0" spc="-265" dirty="0">
                <a:solidFill>
                  <a:srgbClr val="FFFFFF"/>
                </a:solidFill>
                <a:latin typeface="Alliance No.2"/>
                <a:cs typeface="Alliance No.2"/>
              </a:rPr>
              <a:t> </a:t>
            </a:r>
            <a:r>
              <a:rPr sz="6650" b="0" spc="-114" dirty="0" err="1">
                <a:solidFill>
                  <a:srgbClr val="FFFFFF"/>
                </a:solidFill>
                <a:latin typeface="Alliance No.2"/>
                <a:cs typeface="Alliance No.2"/>
              </a:rPr>
              <a:t>amet</a:t>
            </a:r>
            <a:endParaRPr sz="6650" dirty="0">
              <a:latin typeface="Alliance No.2"/>
              <a:cs typeface="Alliance No.2"/>
            </a:endParaRPr>
          </a:p>
        </p:txBody>
      </p:sp>
      <p:sp>
        <p:nvSpPr>
          <p:cNvPr id="40" name="object 6">
            <a:extLst>
              <a:ext uri="{FF2B5EF4-FFF2-40B4-BE49-F238E27FC236}">
                <a16:creationId xmlns:a16="http://schemas.microsoft.com/office/drawing/2014/main" id="{2CC30D14-29D6-147D-1D75-9F3A245B2C0A}"/>
              </a:ext>
            </a:extLst>
          </p:cNvPr>
          <p:cNvSpPr/>
          <p:nvPr/>
        </p:nvSpPr>
        <p:spPr>
          <a:xfrm>
            <a:off x="464997" y="3292843"/>
            <a:ext cx="297180" cy="33020"/>
          </a:xfrm>
          <a:custGeom>
            <a:avLst/>
            <a:gdLst/>
            <a:ahLst/>
            <a:cxnLst/>
            <a:rect l="l" t="t" r="r" b="b"/>
            <a:pathLst>
              <a:path w="297180" h="33020">
                <a:moveTo>
                  <a:pt x="296964" y="0"/>
                </a:moveTo>
                <a:lnTo>
                  <a:pt x="0" y="0"/>
                </a:lnTo>
                <a:lnTo>
                  <a:pt x="0" y="32435"/>
                </a:lnTo>
                <a:lnTo>
                  <a:pt x="296964" y="32435"/>
                </a:lnTo>
                <a:lnTo>
                  <a:pt x="296964" y="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7CA0AFD8-982E-2E1E-3CDA-2CA45FF00D1E}"/>
              </a:ext>
            </a:extLst>
          </p:cNvPr>
          <p:cNvGrpSpPr/>
          <p:nvPr/>
        </p:nvGrpSpPr>
        <p:grpSpPr>
          <a:xfrm>
            <a:off x="6187036" y="8486638"/>
            <a:ext cx="1117600" cy="1103630"/>
            <a:chOff x="6191798" y="8491400"/>
            <a:chExt cx="1117600" cy="1103630"/>
          </a:xfrm>
        </p:grpSpPr>
        <p:sp>
          <p:nvSpPr>
            <p:cNvPr id="7" name="object 7"/>
            <p:cNvSpPr/>
            <p:nvPr/>
          </p:nvSpPr>
          <p:spPr>
            <a:xfrm>
              <a:off x="6191798" y="8491400"/>
              <a:ext cx="1117600" cy="1103630"/>
            </a:xfrm>
            <a:prstGeom prst="roundRect">
              <a:avLst>
                <a:gd name="adj" fmla="val 12710"/>
              </a:avLst>
            </a:prstGeom>
            <a:solidFill>
              <a:schemeClr val="bg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9" name="Graphic 18">
              <a:extLst>
                <a:ext uri="{FF2B5EF4-FFF2-40B4-BE49-F238E27FC236}">
                  <a16:creationId xmlns:a16="http://schemas.microsoft.com/office/drawing/2014/main" id="{F757696F-CA6A-1E79-DEBC-62DFFDF0B085}"/>
                </a:ext>
              </a:extLst>
            </p:cNvPr>
            <p:cNvPicPr>
              <a:picLocks noChangeAspect="1"/>
            </p:cNvPicPr>
            <p:nvPr>
              <p:custDataLst>
                <p:tags r:id="rId4"/>
              </p:custDataLst>
            </p:nvPr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6423568" y="8716186"/>
              <a:ext cx="654059" cy="654059"/>
            </a:xfrm>
            <a:prstGeom prst="rect">
              <a:avLst/>
            </a:prstGeom>
          </p:spPr>
        </p:pic>
      </p:grpSp>
      <p:sp>
        <p:nvSpPr>
          <p:cNvPr id="179" name="object 179"/>
          <p:cNvSpPr txBox="1"/>
          <p:nvPr/>
        </p:nvSpPr>
        <p:spPr>
          <a:xfrm>
            <a:off x="643490" y="9153959"/>
            <a:ext cx="2980773" cy="427355"/>
          </a:xfrm>
          <a:prstGeom prst="rect">
            <a:avLst/>
          </a:prstGeom>
        </p:spPr>
        <p:txBody>
          <a:bodyPr vert="horz" wrap="square" lIns="10800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300" dirty="0">
                <a:solidFill>
                  <a:schemeClr val="accent2"/>
                </a:solidFill>
                <a:latin typeface="Alliance No.2"/>
                <a:cs typeface="Alliance No.2"/>
              </a:rPr>
              <a:t>For</a:t>
            </a:r>
            <a:r>
              <a:rPr sz="1300" spc="-20" dirty="0">
                <a:solidFill>
                  <a:schemeClr val="accent2"/>
                </a:solidFill>
                <a:latin typeface="Alliance No.2"/>
                <a:cs typeface="Alliance No.2"/>
              </a:rPr>
              <a:t> </a:t>
            </a:r>
            <a:r>
              <a:rPr sz="1300" dirty="0">
                <a:solidFill>
                  <a:schemeClr val="accent2"/>
                </a:solidFill>
                <a:latin typeface="Alliance No.2"/>
                <a:cs typeface="Alliance No.2"/>
              </a:rPr>
              <a:t>more</a:t>
            </a:r>
            <a:r>
              <a:rPr sz="1300" spc="-15" dirty="0">
                <a:solidFill>
                  <a:schemeClr val="accent2"/>
                </a:solidFill>
                <a:latin typeface="Alliance No.2"/>
                <a:cs typeface="Alliance No.2"/>
              </a:rPr>
              <a:t> </a:t>
            </a:r>
            <a:r>
              <a:rPr sz="1300" spc="-10" dirty="0">
                <a:solidFill>
                  <a:schemeClr val="accent2"/>
                </a:solidFill>
                <a:latin typeface="Alliance No.2"/>
                <a:cs typeface="Alliance No.2"/>
              </a:rPr>
              <a:t>inf</a:t>
            </a:r>
            <a:r>
              <a:rPr lang="en-GB" sz="1300" spc="-10" dirty="0">
                <a:solidFill>
                  <a:schemeClr val="accent2"/>
                </a:solidFill>
                <a:latin typeface="Alliance No.2"/>
                <a:cs typeface="Alliance No.2"/>
              </a:rPr>
              <a:t>o</a:t>
            </a:r>
            <a:r>
              <a:rPr sz="1300" spc="-10" dirty="0" err="1">
                <a:solidFill>
                  <a:schemeClr val="accent2"/>
                </a:solidFill>
                <a:latin typeface="Alliance No.2"/>
                <a:cs typeface="Alliance No.2"/>
              </a:rPr>
              <a:t>rmation</a:t>
            </a:r>
            <a:r>
              <a:rPr sz="1300" spc="-20" dirty="0">
                <a:solidFill>
                  <a:schemeClr val="accent2"/>
                </a:solidFill>
                <a:latin typeface="Alliance No.2"/>
                <a:cs typeface="Alliance No.2"/>
              </a:rPr>
              <a:t> </a:t>
            </a:r>
            <a:r>
              <a:rPr sz="1300" dirty="0">
                <a:solidFill>
                  <a:schemeClr val="accent2"/>
                </a:solidFill>
                <a:latin typeface="Alliance No.2"/>
                <a:cs typeface="Alliance No.2"/>
              </a:rPr>
              <a:t>register</a:t>
            </a:r>
            <a:r>
              <a:rPr sz="1300" spc="-15" dirty="0">
                <a:solidFill>
                  <a:schemeClr val="accent2"/>
                </a:solidFill>
                <a:latin typeface="Alliance No.2"/>
                <a:cs typeface="Alliance No.2"/>
              </a:rPr>
              <a:t> </a:t>
            </a:r>
            <a:r>
              <a:rPr sz="1300" spc="-25" dirty="0">
                <a:solidFill>
                  <a:schemeClr val="accent2"/>
                </a:solidFill>
                <a:latin typeface="Alliance No.2"/>
                <a:cs typeface="Alliance No.2"/>
              </a:rPr>
              <a:t>at:</a:t>
            </a:r>
            <a:endParaRPr sz="1300" dirty="0">
              <a:solidFill>
                <a:schemeClr val="accent2"/>
              </a:solidFill>
              <a:latin typeface="Alliance No.2"/>
              <a:cs typeface="Alliance No.2"/>
            </a:endParaRPr>
          </a:p>
          <a:p>
            <a:pPr marL="12700">
              <a:lnSpc>
                <a:spcPct val="100000"/>
              </a:lnSpc>
              <a:spcBef>
                <a:spcPts val="40"/>
              </a:spcBef>
            </a:pPr>
            <a:r>
              <a:rPr sz="1300" b="1" u="sng" spc="-10" dirty="0">
                <a:solidFill>
                  <a:schemeClr val="accent2"/>
                </a:solidFill>
                <a:uFill>
                  <a:solidFill>
                    <a:srgbClr val="1E7DED"/>
                  </a:solidFill>
                </a:uFill>
                <a:latin typeface="Alliance No.2" pitchFamily="50" charset="0"/>
                <a:cs typeface="Alliance No.2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ohnsmith@spacecenter.org</a:t>
            </a:r>
            <a:endParaRPr sz="1300" dirty="0">
              <a:solidFill>
                <a:schemeClr val="accent2"/>
              </a:solidFill>
              <a:latin typeface="Alliance No.2" pitchFamily="50" charset="0"/>
              <a:cs typeface="Alliance No.2"/>
            </a:endParaRPr>
          </a:p>
        </p:txBody>
      </p:sp>
      <p:sp>
        <p:nvSpPr>
          <p:cNvPr id="182" name="object 12">
            <a:extLst>
              <a:ext uri="{FF2B5EF4-FFF2-40B4-BE49-F238E27FC236}">
                <a16:creationId xmlns:a16="http://schemas.microsoft.com/office/drawing/2014/main" id="{C5BEDA41-94DA-7C98-1F3A-D803451225FB}"/>
              </a:ext>
            </a:extLst>
          </p:cNvPr>
          <p:cNvSpPr txBox="1"/>
          <p:nvPr/>
        </p:nvSpPr>
        <p:spPr>
          <a:xfrm>
            <a:off x="469659" y="4576267"/>
            <a:ext cx="3938226" cy="4228464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 algn="l">
              <a:lnSpc>
                <a:spcPct val="100000"/>
              </a:lnSpc>
              <a:spcBef>
                <a:spcPts val="600"/>
              </a:spcBef>
              <a:spcAft>
                <a:spcPts val="800"/>
              </a:spcAft>
            </a:pPr>
            <a:r>
              <a:rPr spc="9" dirty="0">
                <a:solidFill>
                  <a:schemeClr val="accent2"/>
                </a:solidFill>
                <a:latin typeface="Alliance No.2 Medium" pitchFamily="50" charset="0"/>
                <a:cs typeface="Alliance No.2"/>
              </a:rPr>
              <a:t>Lorem ipsum dolor sit </a:t>
            </a:r>
            <a:r>
              <a:rPr spc="9" dirty="0" err="1">
                <a:solidFill>
                  <a:schemeClr val="accent2"/>
                </a:solidFill>
                <a:latin typeface="Alliance No.2 Medium" pitchFamily="50" charset="0"/>
                <a:cs typeface="Alliance No.2"/>
              </a:rPr>
              <a:t>amet</a:t>
            </a:r>
            <a:endParaRPr lang="en-GB" spc="9" dirty="0">
              <a:solidFill>
                <a:schemeClr val="accent2"/>
              </a:solidFill>
              <a:latin typeface="Alliance No.2 Medium" pitchFamily="50" charset="0"/>
              <a:cs typeface="Alliance No.2"/>
            </a:endParaRPr>
          </a:p>
          <a:p>
            <a:pPr>
              <a:lnSpc>
                <a:spcPct val="116000"/>
              </a:lnSpc>
              <a:spcAft>
                <a:spcPts val="600"/>
              </a:spcAft>
              <a:defRPr/>
            </a:pPr>
            <a:r>
              <a:rPr lang="en-GB" sz="1000" dirty="0">
                <a:solidFill>
                  <a:schemeClr val="tx2"/>
                </a:solidFill>
                <a:latin typeface="Alliance No.2"/>
              </a:rPr>
              <a:t>Lorem ipsum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dolor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sit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amet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,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consectetuer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adipiscing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elit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,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sed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Maecenas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porttitor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congue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massa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.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Fusce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posuere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, magna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sed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pulvinar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ultricies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,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purus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lectus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malesuada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libero, sit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amet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commodo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magna eros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quis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urna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. Nunc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viverra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imperdiet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enim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.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Fusce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est.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Vivamus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a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tellus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.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Pellentesque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habitant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morbi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tristique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senectus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et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netus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et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malesuada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fames ac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turpis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egestas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. Proin pharetra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nonummy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pede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.</a:t>
            </a:r>
          </a:p>
          <a:p>
            <a:pPr marR="0" lvl="0" indent="0" algn="l" defTabSz="914400" eaLnBrk="1" fontAlgn="auto" latinLnBrk="0" hangingPunct="1">
              <a:spcBef>
                <a:spcPts val="6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lang="da-DK" spc="9" dirty="0">
                <a:solidFill>
                  <a:schemeClr val="accent2"/>
                </a:solidFill>
                <a:latin typeface="Alliance No.2 Medium" pitchFamily="50" charset="0"/>
              </a:rPr>
              <a:t>Lorem ipsum dolor sit amet</a:t>
            </a:r>
          </a:p>
          <a:p>
            <a:pPr marR="0" lvl="0" indent="0" defTabSz="914400" eaLnBrk="1" fontAlgn="auto" latinLnBrk="0" hangingPunct="1">
              <a:lnSpc>
                <a:spcPct val="116000"/>
              </a:lnSpc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000" dirty="0">
                <a:solidFill>
                  <a:schemeClr val="tx2"/>
                </a:solidFill>
                <a:latin typeface="Alliance No.2"/>
              </a:rPr>
              <a:t>Lorem ipsum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dolor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sit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amet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,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consectetuer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adipiscing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elit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,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sed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Maecenas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porttitor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congue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massa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.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Fusce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posuere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, magna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sed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pulvinar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ultricies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,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purus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lectus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malesuada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libero, sit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amet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commodo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magna eros</a:t>
            </a:r>
          </a:p>
          <a:p>
            <a:pPr marR="0" lvl="0" indent="0" algn="l" defTabSz="914400" eaLnBrk="1" fontAlgn="auto" latinLnBrk="0" hangingPunct="1">
              <a:spcBef>
                <a:spcPts val="6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lang="da-DK" spc="9" dirty="0">
                <a:solidFill>
                  <a:schemeClr val="accent2"/>
                </a:solidFill>
                <a:latin typeface="Alliance No.2 Medium" pitchFamily="50" charset="0"/>
              </a:rPr>
              <a:t>Lorem ipsum dolor sit amet</a:t>
            </a:r>
          </a:p>
          <a:p>
            <a:pPr marL="177800" marR="0" lvl="0" indent="-168275" defTabSz="914400" eaLnBrk="1" fontAlgn="auto" latinLnBrk="0" hangingPunct="1"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en-GB" sz="1000" dirty="0">
                <a:solidFill>
                  <a:schemeClr val="tx2"/>
                </a:solidFill>
                <a:latin typeface="Alliance No.2"/>
              </a:rPr>
              <a:t>Lorem ipsum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dolor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sit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amet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,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consectetuer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adipiscing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elit</a:t>
            </a:r>
            <a:endParaRPr lang="en-GB" sz="1000" dirty="0">
              <a:solidFill>
                <a:schemeClr val="tx2"/>
              </a:solidFill>
              <a:latin typeface="Alliance No.2"/>
            </a:endParaRPr>
          </a:p>
          <a:p>
            <a:pPr marL="177800" marR="0" lvl="0" indent="-168275" defTabSz="914400" eaLnBrk="1" fontAlgn="auto" latinLnBrk="0" hangingPunct="1"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en-GB" sz="1000" dirty="0">
                <a:solidFill>
                  <a:schemeClr val="tx2"/>
                </a:solidFill>
                <a:latin typeface="Alliance No.2"/>
              </a:rPr>
              <a:t>Lorem ipsum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dolor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sit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amet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,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consectetuer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adipiscing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elit</a:t>
            </a:r>
            <a:endParaRPr lang="en-GB" sz="1000" dirty="0">
              <a:solidFill>
                <a:schemeClr val="tx2"/>
              </a:solidFill>
              <a:latin typeface="Alliance No.2"/>
            </a:endParaRPr>
          </a:p>
          <a:p>
            <a:pPr marL="177800" marR="0" lvl="0" indent="-168275" defTabSz="914400" eaLnBrk="1" fontAlgn="auto" latinLnBrk="0" hangingPunct="1"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en-GB" sz="1000" dirty="0">
                <a:solidFill>
                  <a:schemeClr val="tx2"/>
                </a:solidFill>
                <a:latin typeface="Alliance No.2"/>
              </a:rPr>
              <a:t>Lorem ipsum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dolor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sit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amet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,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consectetuer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adipiscing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elit</a:t>
            </a:r>
            <a:endParaRPr lang="en-GB" sz="1000" dirty="0">
              <a:solidFill>
                <a:schemeClr val="tx2"/>
              </a:solidFill>
              <a:latin typeface="Alliance No.2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B71F570-87F9-DAD6-C0F7-1D34263E1F63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89304" y="9199879"/>
            <a:ext cx="176169" cy="155443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0"/>
            <a:ext cx="7772400" cy="6894830"/>
          </a:xfrm>
          <a:custGeom>
            <a:avLst/>
            <a:gdLst/>
            <a:ahLst/>
            <a:cxnLst/>
            <a:rect l="l" t="t" r="r" b="b"/>
            <a:pathLst>
              <a:path w="7772400" h="6894830">
                <a:moveTo>
                  <a:pt x="7772400" y="0"/>
                </a:moveTo>
                <a:lnTo>
                  <a:pt x="0" y="0"/>
                </a:lnTo>
                <a:lnTo>
                  <a:pt x="0" y="6894474"/>
                </a:lnTo>
                <a:lnTo>
                  <a:pt x="7772400" y="6894474"/>
                </a:lnTo>
                <a:lnTo>
                  <a:pt x="7772400" y="0"/>
                </a:lnTo>
                <a:close/>
              </a:path>
            </a:pathLst>
          </a:custGeom>
          <a:solidFill>
            <a:srgbClr val="DFEFFC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3" name="object 3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4" cstate="print"/>
          <a:srcRect t="-31304" b="-1"/>
          <a:stretch/>
        </p:blipFill>
        <p:spPr>
          <a:xfrm>
            <a:off x="246838" y="-1268361"/>
            <a:ext cx="7278725" cy="5320169"/>
          </a:xfrm>
          <a:prstGeom prst="roundRect">
            <a:avLst>
              <a:gd name="adj" fmla="val 2637"/>
            </a:avLst>
          </a:prstGeom>
        </p:spPr>
      </p:pic>
      <p:sp>
        <p:nvSpPr>
          <p:cNvPr id="4" name="object 4"/>
          <p:cNvSpPr txBox="1"/>
          <p:nvPr/>
        </p:nvSpPr>
        <p:spPr>
          <a:xfrm>
            <a:off x="477520" y="4273332"/>
            <a:ext cx="6839268" cy="1415772"/>
          </a:xfrm>
          <a:prstGeom prst="rect">
            <a:avLst/>
          </a:prstGeom>
        </p:spPr>
        <p:txBody>
          <a:bodyPr vert="horz" wrap="square" lIns="0" tIns="106680" rIns="0" bIns="0" rtlCol="0" anchor="b">
            <a:normAutofit/>
          </a:bodyPr>
          <a:lstStyle/>
          <a:p>
            <a:pPr marR="7620">
              <a:lnSpc>
                <a:spcPts val="5080"/>
              </a:lnSpc>
            </a:pPr>
            <a:r>
              <a:rPr sz="4800" b="0" spc="-70" dirty="0">
                <a:solidFill>
                  <a:schemeClr val="accent2"/>
                </a:solidFill>
                <a:latin typeface="Alliance No.2 Medium"/>
                <a:cs typeface="Alliance No.2 Medium"/>
              </a:rPr>
              <a:t>Ut</a:t>
            </a:r>
            <a:r>
              <a:rPr sz="4800" b="0" spc="-240" dirty="0">
                <a:solidFill>
                  <a:schemeClr val="accent2"/>
                </a:solidFill>
                <a:latin typeface="Alliance No.2 Medium"/>
                <a:cs typeface="Alliance No.2 Medium"/>
              </a:rPr>
              <a:t> </a:t>
            </a:r>
            <a:r>
              <a:rPr sz="4800" b="0" spc="-95" dirty="0" err="1">
                <a:solidFill>
                  <a:schemeClr val="accent2"/>
                </a:solidFill>
                <a:latin typeface="Alliance No.2 Medium"/>
                <a:cs typeface="Alliance No.2 Medium"/>
              </a:rPr>
              <a:t>wisi</a:t>
            </a:r>
            <a:r>
              <a:rPr sz="4800" b="0" spc="-229" dirty="0">
                <a:solidFill>
                  <a:schemeClr val="accent2"/>
                </a:solidFill>
                <a:latin typeface="Alliance No.2 Medium"/>
                <a:cs typeface="Alliance No.2 Medium"/>
              </a:rPr>
              <a:t> </a:t>
            </a:r>
            <a:r>
              <a:rPr sz="4800" b="0" spc="-95" dirty="0" err="1">
                <a:solidFill>
                  <a:schemeClr val="accent2"/>
                </a:solidFill>
                <a:latin typeface="Alliance No.2 Medium"/>
                <a:cs typeface="Alliance No.2 Medium"/>
              </a:rPr>
              <a:t>enim</a:t>
            </a:r>
            <a:r>
              <a:rPr sz="4800" b="0" spc="-229" dirty="0">
                <a:solidFill>
                  <a:schemeClr val="accent2"/>
                </a:solidFill>
                <a:latin typeface="Alliance No.2 Medium"/>
                <a:cs typeface="Alliance No.2 Medium"/>
              </a:rPr>
              <a:t> </a:t>
            </a:r>
            <a:r>
              <a:rPr sz="4800" b="0" spc="-70" dirty="0">
                <a:solidFill>
                  <a:schemeClr val="accent2"/>
                </a:solidFill>
                <a:latin typeface="Alliance No.2 Medium"/>
                <a:cs typeface="Alliance No.2 Medium"/>
              </a:rPr>
              <a:t>ad</a:t>
            </a:r>
            <a:r>
              <a:rPr sz="4800" b="0" spc="-229" dirty="0">
                <a:solidFill>
                  <a:schemeClr val="accent2"/>
                </a:solidFill>
                <a:latin typeface="Alliance No.2 Medium"/>
                <a:cs typeface="Alliance No.2 Medium"/>
              </a:rPr>
              <a:t> </a:t>
            </a:r>
            <a:r>
              <a:rPr sz="4800" b="0" spc="-120" dirty="0">
                <a:solidFill>
                  <a:schemeClr val="accent2"/>
                </a:solidFill>
                <a:latin typeface="Alliance No.2 Medium"/>
                <a:cs typeface="Alliance No.2 Medium"/>
              </a:rPr>
              <a:t>minim </a:t>
            </a:r>
            <a:r>
              <a:rPr sz="4800" b="0" spc="-110" dirty="0" err="1">
                <a:solidFill>
                  <a:schemeClr val="accent2"/>
                </a:solidFill>
                <a:latin typeface="Alliance No.2 Medium"/>
                <a:cs typeface="Alliance No.2 Medium"/>
              </a:rPr>
              <a:t>nostrud</a:t>
            </a:r>
            <a:r>
              <a:rPr sz="4800" b="0" spc="-229" dirty="0">
                <a:solidFill>
                  <a:schemeClr val="accent2"/>
                </a:solidFill>
                <a:latin typeface="Alliance No.2 Medium"/>
                <a:cs typeface="Alliance No.2 Medium"/>
              </a:rPr>
              <a:t> </a:t>
            </a:r>
            <a:r>
              <a:rPr sz="4800" b="0" spc="-150" dirty="0" err="1">
                <a:solidFill>
                  <a:schemeClr val="accent2"/>
                </a:solidFill>
                <a:latin typeface="Alliance No.2 Medium"/>
                <a:cs typeface="Alliance No.2 Medium"/>
              </a:rPr>
              <a:t>exerci</a:t>
            </a:r>
            <a:r>
              <a:rPr sz="4800" b="0" spc="-225" dirty="0">
                <a:solidFill>
                  <a:schemeClr val="accent2"/>
                </a:solidFill>
                <a:latin typeface="Alliance No.2 Medium"/>
                <a:cs typeface="Alliance No.2 Medium"/>
              </a:rPr>
              <a:t> </a:t>
            </a:r>
            <a:r>
              <a:rPr sz="4800" b="0" spc="-10" dirty="0" err="1">
                <a:solidFill>
                  <a:schemeClr val="accent2"/>
                </a:solidFill>
                <a:latin typeface="Alliance No.2 Medium"/>
                <a:cs typeface="Alliance No.2 Medium"/>
              </a:rPr>
              <a:t>tation</a:t>
            </a:r>
            <a:endParaRPr sz="4800" dirty="0">
              <a:solidFill>
                <a:schemeClr val="accent2"/>
              </a:solidFill>
              <a:latin typeface="Alliance No.2 Medium"/>
              <a:cs typeface="Alliance No.2 Medium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477520" y="7235113"/>
            <a:ext cx="2971165" cy="22140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200" b="1" spc="-45" dirty="0">
                <a:solidFill>
                  <a:schemeClr val="tx2"/>
                </a:solidFill>
                <a:latin typeface="Alliance No.2"/>
                <a:cs typeface="Alliance No.2"/>
              </a:rPr>
              <a:t>Lorem</a:t>
            </a:r>
            <a:r>
              <a:rPr sz="1200" b="1" spc="-3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200" b="1" spc="-40" dirty="0">
                <a:solidFill>
                  <a:schemeClr val="tx2"/>
                </a:solidFill>
                <a:latin typeface="Alliance No.2"/>
                <a:cs typeface="Alliance No.2"/>
              </a:rPr>
              <a:t>ipsum</a:t>
            </a:r>
            <a:r>
              <a:rPr sz="1200" b="1" spc="-35" dirty="0">
                <a:solidFill>
                  <a:schemeClr val="tx2"/>
                </a:solidFill>
                <a:latin typeface="Alliance No.2"/>
                <a:cs typeface="Alliance No.2"/>
              </a:rPr>
              <a:t> dolor </a:t>
            </a:r>
            <a:r>
              <a:rPr sz="1200" b="1" spc="-30" dirty="0">
                <a:solidFill>
                  <a:schemeClr val="tx2"/>
                </a:solidFill>
                <a:latin typeface="Alliance No.2"/>
                <a:cs typeface="Alliance No.2"/>
              </a:rPr>
              <a:t>sit</a:t>
            </a:r>
            <a:r>
              <a:rPr sz="1200" b="1" spc="-3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200" b="1" spc="-35" dirty="0" err="1">
                <a:solidFill>
                  <a:schemeClr val="tx2"/>
                </a:solidFill>
                <a:latin typeface="Alliance No.2"/>
                <a:cs typeface="Alliance No.2"/>
              </a:rPr>
              <a:t>amet</a:t>
            </a:r>
            <a:r>
              <a:rPr sz="1200" b="1" spc="-35" dirty="0">
                <a:solidFill>
                  <a:schemeClr val="tx2"/>
                </a:solidFill>
                <a:latin typeface="Alliance No.2"/>
                <a:cs typeface="Alliance No.2"/>
              </a:rPr>
              <a:t>, </a:t>
            </a:r>
            <a:r>
              <a:rPr sz="1200" b="1" spc="-25" dirty="0" err="1">
                <a:solidFill>
                  <a:schemeClr val="tx2"/>
                </a:solidFill>
                <a:latin typeface="Alliance No.2"/>
                <a:cs typeface="Alliance No.2"/>
              </a:rPr>
              <a:t>consectetuer</a:t>
            </a:r>
            <a:r>
              <a:rPr sz="1200" b="1" spc="-25" dirty="0">
                <a:solidFill>
                  <a:schemeClr val="tx2"/>
                </a:solidFill>
                <a:latin typeface="Alliance No.2"/>
                <a:cs typeface="Alliance No.2"/>
              </a:rPr>
              <a:t>:</a:t>
            </a:r>
            <a:endParaRPr sz="1200" dirty="0">
              <a:solidFill>
                <a:schemeClr val="tx2"/>
              </a:solidFill>
              <a:latin typeface="Alliance No.2"/>
              <a:cs typeface="Alliance No.2"/>
            </a:endParaRPr>
          </a:p>
          <a:p>
            <a:pPr marL="154305" indent="-142240">
              <a:lnSpc>
                <a:spcPct val="100000"/>
              </a:lnSpc>
              <a:spcBef>
                <a:spcPts val="1300"/>
              </a:spcBef>
              <a:buChar char="•"/>
              <a:tabLst>
                <a:tab pos="154940" algn="l"/>
              </a:tabLst>
            </a:pPr>
            <a:r>
              <a:rPr sz="1200" b="0" spc="-30" dirty="0">
                <a:solidFill>
                  <a:schemeClr val="tx2"/>
                </a:solidFill>
                <a:latin typeface="Alliance No.2 Medium"/>
                <a:cs typeface="Alliance No.2 Medium"/>
              </a:rPr>
              <a:t>Sed</a:t>
            </a:r>
            <a:r>
              <a:rPr sz="1200" b="0" spc="-40" dirty="0">
                <a:solidFill>
                  <a:schemeClr val="tx2"/>
                </a:solidFill>
                <a:latin typeface="Alliance No.2 Medium"/>
                <a:cs typeface="Alliance No.2 Medium"/>
              </a:rPr>
              <a:t> </a:t>
            </a:r>
            <a:r>
              <a:rPr sz="1200" b="0" spc="-35" dirty="0">
                <a:solidFill>
                  <a:schemeClr val="tx2"/>
                </a:solidFill>
                <a:latin typeface="Alliance No.2 Medium"/>
                <a:cs typeface="Alliance No.2 Medium"/>
              </a:rPr>
              <a:t>diam</a:t>
            </a:r>
            <a:r>
              <a:rPr sz="1200" b="0" spc="-40" dirty="0">
                <a:solidFill>
                  <a:schemeClr val="tx2"/>
                </a:solidFill>
                <a:latin typeface="Alliance No.2 Medium"/>
                <a:cs typeface="Alliance No.2 Medium"/>
              </a:rPr>
              <a:t> </a:t>
            </a:r>
            <a:r>
              <a:rPr sz="1200" b="0" spc="-45" dirty="0" err="1">
                <a:solidFill>
                  <a:schemeClr val="tx2"/>
                </a:solidFill>
                <a:latin typeface="Alliance No.2 Medium"/>
                <a:cs typeface="Alliance No.2 Medium"/>
              </a:rPr>
              <a:t>nonummy</a:t>
            </a:r>
            <a:r>
              <a:rPr sz="1200" b="0" spc="-40" dirty="0">
                <a:solidFill>
                  <a:schemeClr val="tx2"/>
                </a:solidFill>
                <a:latin typeface="Alliance No.2 Medium"/>
                <a:cs typeface="Alliance No.2 Medium"/>
              </a:rPr>
              <a:t> </a:t>
            </a:r>
            <a:r>
              <a:rPr sz="1200" b="0" spc="-20" dirty="0" err="1">
                <a:solidFill>
                  <a:schemeClr val="tx2"/>
                </a:solidFill>
                <a:latin typeface="Alliance No.2 Medium"/>
                <a:cs typeface="Alliance No.2 Medium"/>
              </a:rPr>
              <a:t>nibh</a:t>
            </a:r>
            <a:endParaRPr sz="1200" dirty="0">
              <a:solidFill>
                <a:schemeClr val="tx2"/>
              </a:solidFill>
              <a:latin typeface="Alliance No.2 Medium"/>
              <a:cs typeface="Alliance No.2 Medium"/>
            </a:endParaRPr>
          </a:p>
          <a:p>
            <a:pPr marL="154305" indent="-142240">
              <a:lnSpc>
                <a:spcPct val="100000"/>
              </a:lnSpc>
              <a:spcBef>
                <a:spcPts val="355"/>
              </a:spcBef>
              <a:buChar char="•"/>
              <a:tabLst>
                <a:tab pos="154940" algn="l"/>
              </a:tabLst>
            </a:pPr>
            <a:r>
              <a:rPr sz="1200" b="0" spc="-40" dirty="0" err="1">
                <a:solidFill>
                  <a:schemeClr val="tx2"/>
                </a:solidFill>
                <a:latin typeface="Alliance No.2 Medium"/>
                <a:cs typeface="Alliance No.2 Medium"/>
              </a:rPr>
              <a:t>Consectetuer</a:t>
            </a:r>
            <a:r>
              <a:rPr sz="1200" b="0" spc="-5" dirty="0">
                <a:solidFill>
                  <a:schemeClr val="tx2"/>
                </a:solidFill>
                <a:latin typeface="Alliance No.2 Medium"/>
                <a:cs typeface="Alliance No.2 Medium"/>
              </a:rPr>
              <a:t> </a:t>
            </a:r>
            <a:r>
              <a:rPr sz="1200" b="0" spc="-10" dirty="0" err="1">
                <a:solidFill>
                  <a:schemeClr val="tx2"/>
                </a:solidFill>
                <a:latin typeface="Alliance No.2 Medium"/>
                <a:cs typeface="Alliance No.2 Medium"/>
              </a:rPr>
              <a:t>adipiscing</a:t>
            </a:r>
            <a:endParaRPr sz="1200" dirty="0">
              <a:solidFill>
                <a:schemeClr val="tx2"/>
              </a:solidFill>
              <a:latin typeface="Alliance No.2 Medium"/>
              <a:cs typeface="Alliance No.2 Medium"/>
            </a:endParaRPr>
          </a:p>
          <a:p>
            <a:pPr marL="154305" indent="-142240">
              <a:lnSpc>
                <a:spcPct val="100000"/>
              </a:lnSpc>
              <a:spcBef>
                <a:spcPts val="355"/>
              </a:spcBef>
              <a:buChar char="•"/>
              <a:tabLst>
                <a:tab pos="154940" algn="l"/>
              </a:tabLst>
            </a:pPr>
            <a:r>
              <a:rPr sz="1200" b="0" spc="-55" dirty="0" err="1">
                <a:solidFill>
                  <a:schemeClr val="tx2"/>
                </a:solidFill>
                <a:latin typeface="Alliance No.2 Medium"/>
                <a:cs typeface="Alliance No.2 Medium"/>
              </a:rPr>
              <a:t>Erat</a:t>
            </a:r>
            <a:r>
              <a:rPr sz="1200" b="0" spc="-30" dirty="0">
                <a:solidFill>
                  <a:schemeClr val="tx2"/>
                </a:solidFill>
                <a:latin typeface="Alliance No.2 Medium"/>
                <a:cs typeface="Alliance No.2 Medium"/>
              </a:rPr>
              <a:t> </a:t>
            </a:r>
            <a:r>
              <a:rPr sz="1200" b="0" spc="-10" dirty="0" err="1">
                <a:solidFill>
                  <a:schemeClr val="tx2"/>
                </a:solidFill>
                <a:latin typeface="Alliance No.2 Medium"/>
                <a:cs typeface="Alliance No.2 Medium"/>
              </a:rPr>
              <a:t>volutpat</a:t>
            </a:r>
            <a:endParaRPr sz="1200" dirty="0">
              <a:solidFill>
                <a:schemeClr val="tx2"/>
              </a:solidFill>
              <a:latin typeface="Alliance No.2 Medium"/>
              <a:cs typeface="Alliance No.2 Medium"/>
            </a:endParaRPr>
          </a:p>
          <a:p>
            <a:pPr marL="154305" indent="-142240">
              <a:lnSpc>
                <a:spcPct val="100000"/>
              </a:lnSpc>
              <a:spcBef>
                <a:spcPts val="355"/>
              </a:spcBef>
              <a:buChar char="•"/>
              <a:tabLst>
                <a:tab pos="154940" algn="l"/>
              </a:tabLst>
            </a:pPr>
            <a:r>
              <a:rPr sz="1200" b="0" spc="-40" dirty="0">
                <a:solidFill>
                  <a:schemeClr val="tx2"/>
                </a:solidFill>
                <a:latin typeface="Alliance No.2 Medium"/>
                <a:cs typeface="Alliance No.2 Medium"/>
              </a:rPr>
              <a:t>Magna</a:t>
            </a:r>
            <a:r>
              <a:rPr sz="1200" b="0" spc="-25" dirty="0">
                <a:solidFill>
                  <a:schemeClr val="tx2"/>
                </a:solidFill>
                <a:latin typeface="Alliance No.2 Medium"/>
                <a:cs typeface="Alliance No.2 Medium"/>
              </a:rPr>
              <a:t> </a:t>
            </a:r>
            <a:r>
              <a:rPr sz="1200" b="0" spc="-10" dirty="0" err="1">
                <a:solidFill>
                  <a:schemeClr val="tx2"/>
                </a:solidFill>
                <a:latin typeface="Alliance No.2 Medium"/>
                <a:cs typeface="Alliance No.2 Medium"/>
              </a:rPr>
              <a:t>aliquam</a:t>
            </a:r>
            <a:endParaRPr lang="en-GB" sz="1200" b="0" spc="-10" dirty="0">
              <a:solidFill>
                <a:schemeClr val="tx2"/>
              </a:solidFill>
              <a:latin typeface="Alliance No.2 Medium"/>
              <a:cs typeface="Alliance No.2 Medium"/>
            </a:endParaRPr>
          </a:p>
          <a:p>
            <a:pPr marR="5080" lvl="0" indent="0" defTabSz="914400" eaLnBrk="1" fontAlgn="auto" latinLnBrk="0" hangingPunct="1">
              <a:lnSpc>
                <a:spcPct val="1108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-5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/>
                <a:cs typeface="Alliance No.2 Medium"/>
              </a:rPr>
              <a:t>Lorem</a:t>
            </a:r>
            <a:r>
              <a:rPr kumimoji="0" lang="en-GB" sz="1200" b="0" i="0" u="none" strike="noStrike" kern="0" cap="none" spc="-35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/>
                <a:cs typeface="Alliance No.2 Medium"/>
              </a:rPr>
              <a:t> </a:t>
            </a:r>
            <a:r>
              <a:rPr kumimoji="0" lang="en-GB" sz="1200" b="0" i="0" u="none" strike="noStrike" kern="0" cap="none" spc="-4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/>
                <a:cs typeface="Alliance No.2 Medium"/>
              </a:rPr>
              <a:t>ipsum</a:t>
            </a:r>
            <a:r>
              <a:rPr kumimoji="0" lang="en-GB" sz="1200" b="0" i="0" u="none" strike="noStrike" kern="0" cap="none" spc="-3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/>
                <a:cs typeface="Alliance No.2 Medium"/>
              </a:rPr>
              <a:t> </a:t>
            </a:r>
            <a:r>
              <a:rPr kumimoji="0" lang="en-GB" sz="1200" b="0" i="0" u="none" strike="noStrike" kern="0" cap="none" spc="-35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/>
                <a:cs typeface="Alliance No.2 Medium"/>
              </a:rPr>
              <a:t>dolor</a:t>
            </a:r>
            <a:r>
              <a:rPr kumimoji="0" lang="en-GB" sz="1200" b="0" i="0" u="none" strike="noStrike" kern="0" cap="none" spc="-3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/>
                <a:cs typeface="Alliance No.2 Medium"/>
              </a:rPr>
              <a:t> sit</a:t>
            </a:r>
            <a:r>
              <a:rPr kumimoji="0" lang="en-GB" sz="1200" b="0" i="0" u="none" strike="noStrike" kern="0" cap="none" spc="-35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/>
                <a:cs typeface="Alliance No.2 Medium"/>
              </a:rPr>
              <a:t> </a:t>
            </a:r>
            <a:r>
              <a:rPr kumimoji="0" lang="en-GB" sz="1200" b="0" i="0" u="none" strike="noStrike" kern="0" cap="none" spc="-35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/>
                <a:cs typeface="Alliance No.2 Medium"/>
              </a:rPr>
              <a:t>amet</a:t>
            </a:r>
            <a:r>
              <a:rPr kumimoji="0" lang="en-GB" sz="1200" b="0" i="0" u="none" strike="noStrike" kern="0" cap="none" spc="-35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/>
                <a:cs typeface="Alliance No.2 Medium"/>
              </a:rPr>
              <a:t>,</a:t>
            </a:r>
            <a:r>
              <a:rPr kumimoji="0" lang="en-GB" sz="1200" b="0" i="0" u="none" strike="noStrike" kern="0" cap="none" spc="-3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/>
                <a:cs typeface="Alliance No.2 Medium"/>
              </a:rPr>
              <a:t> </a:t>
            </a:r>
            <a:r>
              <a:rPr kumimoji="0" lang="en-GB" sz="1200" b="0" i="0" u="none" strike="noStrike" kern="0" cap="none" spc="-3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/>
                <a:cs typeface="Alliance No.2 Medium"/>
              </a:rPr>
              <a:t>consectetuer</a:t>
            </a:r>
            <a:r>
              <a:rPr kumimoji="0" lang="en-GB" sz="1200" b="0" i="0" u="none" strike="noStrike" kern="0" cap="none" spc="-3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/>
                <a:cs typeface="Alliance No.2 Medium"/>
              </a:rPr>
              <a:t> </a:t>
            </a:r>
            <a:r>
              <a:rPr kumimoji="0" lang="en-GB" sz="1200" b="0" i="0" u="none" strike="noStrike" kern="0" cap="none" spc="-4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/>
                <a:cs typeface="Alliance No.2 Medium"/>
              </a:rPr>
              <a:t>adipiscing</a:t>
            </a:r>
            <a:r>
              <a:rPr kumimoji="0" lang="en-GB" sz="1200" b="0" i="0" u="none" strike="noStrike" kern="0" cap="none" spc="-3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/>
                <a:cs typeface="Alliance No.2 Medium"/>
              </a:rPr>
              <a:t> </a:t>
            </a:r>
            <a:r>
              <a:rPr kumimoji="0" lang="en-GB" sz="1200" b="0" i="0" u="none" strike="noStrike" kern="0" cap="none" spc="-3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/>
                <a:cs typeface="Alliance No.2 Medium"/>
              </a:rPr>
              <a:t>elit</a:t>
            </a:r>
            <a:r>
              <a:rPr kumimoji="0" lang="en-GB" sz="1200" b="0" i="0" u="none" strike="noStrike" kern="0" cap="none" spc="-3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/>
                <a:cs typeface="Alliance No.2 Medium"/>
              </a:rPr>
              <a:t>,</a:t>
            </a:r>
            <a:r>
              <a:rPr kumimoji="0" lang="en-GB" sz="1200" b="0" i="0" u="none" strike="noStrike" kern="0" cap="none" spc="-25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/>
                <a:cs typeface="Alliance No.2 Medium"/>
              </a:rPr>
              <a:t> </a:t>
            </a:r>
            <a:r>
              <a:rPr kumimoji="0" lang="en-GB" sz="1200" b="0" i="0" u="none" strike="noStrike" kern="0" cap="none" spc="-3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/>
                <a:cs typeface="Alliance No.2 Medium"/>
              </a:rPr>
              <a:t>sed</a:t>
            </a:r>
            <a:r>
              <a:rPr kumimoji="0" lang="en-GB" sz="1200" b="0" i="0" u="none" strike="noStrike" kern="0" cap="none" spc="-3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/>
                <a:cs typeface="Alliance No.2 Medium"/>
              </a:rPr>
              <a:t> </a:t>
            </a:r>
            <a:r>
              <a:rPr kumimoji="0" lang="en-GB" sz="1200" b="0" i="0" u="none" strike="noStrike" kern="0" cap="none" spc="-35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/>
                <a:cs typeface="Alliance No.2 Medium"/>
              </a:rPr>
              <a:t>diam</a:t>
            </a:r>
            <a:r>
              <a:rPr kumimoji="0" lang="en-GB" sz="1200" b="0" i="0" u="none" strike="noStrike" kern="0" cap="none" spc="-25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/>
                <a:cs typeface="Alliance No.2 Medium"/>
              </a:rPr>
              <a:t> </a:t>
            </a:r>
            <a:r>
              <a:rPr kumimoji="0" lang="en-GB" sz="1200" b="0" i="0" u="none" strike="noStrike" kern="0" cap="none" spc="-1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/>
                <a:cs typeface="Alliance No.2 Medium"/>
              </a:rPr>
              <a:t>nonummy</a:t>
            </a:r>
            <a:r>
              <a:rPr kumimoji="0" lang="en-GB" sz="1200" b="0" i="0" u="none" strike="noStrike" kern="0" cap="none" spc="-1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/>
                <a:cs typeface="Alliance No.2 Medium"/>
              </a:rPr>
              <a:t> </a:t>
            </a:r>
            <a:r>
              <a:rPr kumimoji="0" lang="en-GB" sz="1200" b="0" i="0" u="none" strike="noStrike" kern="0" cap="none" spc="-4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/>
                <a:cs typeface="Alliance No.2 Medium"/>
              </a:rPr>
              <a:t>euistincidunt</a:t>
            </a:r>
            <a:r>
              <a:rPr kumimoji="0" lang="en-GB" sz="1200" b="0" i="0" u="none" strike="noStrike" kern="0" cap="none" spc="-25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/>
                <a:cs typeface="Alliance No.2 Medium"/>
              </a:rPr>
              <a:t> </a:t>
            </a:r>
            <a:r>
              <a:rPr kumimoji="0" lang="en-GB" sz="1200" b="0" i="0" u="none" strike="noStrike" kern="0" cap="none" spc="-3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/>
                <a:cs typeface="Alliance No.2 Medium"/>
              </a:rPr>
              <a:t>ut</a:t>
            </a:r>
            <a:r>
              <a:rPr kumimoji="0" lang="en-GB" sz="1200" b="0" i="0" u="none" strike="noStrike" kern="0" cap="none" spc="-25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/>
                <a:cs typeface="Alliance No.2 Medium"/>
              </a:rPr>
              <a:t> </a:t>
            </a:r>
            <a:r>
              <a:rPr kumimoji="0" lang="en-GB" sz="1200" b="0" i="0" u="none" strike="noStrike" kern="0" cap="none" spc="-4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/>
                <a:cs typeface="Alliance No.2 Medium"/>
              </a:rPr>
              <a:t>laoreet</a:t>
            </a:r>
            <a:r>
              <a:rPr kumimoji="0" lang="en-GB" sz="1200" b="0" i="0" u="none" strike="noStrike" kern="0" cap="none" spc="-2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/>
                <a:cs typeface="Alliance No.2 Medium"/>
              </a:rPr>
              <a:t> </a:t>
            </a:r>
            <a:r>
              <a:rPr kumimoji="0" lang="en-GB" sz="1200" b="0" i="0" u="none" strike="noStrike" kern="0" cap="none" spc="-4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/>
                <a:cs typeface="Alliance No.2 Medium"/>
              </a:rPr>
              <a:t>dolore</a:t>
            </a:r>
            <a:r>
              <a:rPr kumimoji="0" lang="en-GB" sz="1200" b="0" i="0" u="none" strike="noStrike" kern="0" cap="none" spc="-25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/>
                <a:cs typeface="Alliance No.2 Medium"/>
              </a:rPr>
              <a:t> </a:t>
            </a:r>
            <a:r>
              <a:rPr kumimoji="0" lang="en-GB" sz="1200" b="0" i="0" u="none" strike="noStrike" kern="0" cap="none" spc="-2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/>
                <a:cs typeface="Alliance No.2 Medium"/>
              </a:rPr>
              <a:t>magna </a:t>
            </a:r>
            <a:r>
              <a:rPr kumimoji="0" lang="en-GB" sz="1200" b="0" i="0" u="none" strike="noStrike" kern="0" cap="none" spc="-4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/>
                <a:cs typeface="Alliance No.2 Medium"/>
              </a:rPr>
              <a:t>aliquam</a:t>
            </a:r>
            <a:r>
              <a:rPr kumimoji="0" lang="en-GB" sz="1200" b="0" i="0" u="none" strike="noStrike" kern="0" cap="none" spc="-2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/>
                <a:cs typeface="Alliance No.2 Medium"/>
              </a:rPr>
              <a:t> </a:t>
            </a:r>
            <a:r>
              <a:rPr kumimoji="0" lang="en-GB" sz="1200" b="0" i="0" u="none" strike="noStrike" kern="0" cap="none" spc="-5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/>
                <a:cs typeface="Alliance No.2 Medium"/>
              </a:rPr>
              <a:t>erat</a:t>
            </a:r>
            <a:r>
              <a:rPr kumimoji="0" lang="en-GB" sz="1200" b="0" i="0" u="none" strike="noStrike" kern="0" cap="none" spc="-2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/>
                <a:cs typeface="Alliance No.2 Medium"/>
              </a:rPr>
              <a:t> </a:t>
            </a:r>
            <a:r>
              <a:rPr kumimoji="0" lang="en-GB" sz="1200" b="0" i="0" u="none" strike="noStrike" kern="0" cap="none" spc="-1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/>
                <a:cs typeface="Alliance No.2 Medium"/>
              </a:rPr>
              <a:t>volutpat</a:t>
            </a:r>
            <a:r>
              <a:rPr kumimoji="0" lang="en-GB" sz="1200" b="0" i="0" u="none" strike="noStrike" kern="0" cap="none" spc="-1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/>
                <a:cs typeface="Alliance No.2 Medium"/>
              </a:rPr>
              <a:t>.</a:t>
            </a:r>
            <a:endParaRPr sz="1200" dirty="0">
              <a:solidFill>
                <a:schemeClr val="tx2"/>
              </a:solidFill>
              <a:latin typeface="Alliance No.2 Medium"/>
              <a:cs typeface="Alliance No.2 Medium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4314265" y="7214746"/>
            <a:ext cx="2261160" cy="1021818"/>
          </a:xfrm>
          <a:prstGeom prst="rect">
            <a:avLst/>
          </a:prstGeom>
        </p:spPr>
        <p:txBody>
          <a:bodyPr vert="horz" wrap="square" lIns="108000" tIns="12700" rIns="0" bIns="0" rtlCol="0">
            <a:spAutoFit/>
          </a:bodyPr>
          <a:lstStyle/>
          <a:p>
            <a:pPr marL="12700" marR="5080">
              <a:lnSpc>
                <a:spcPct val="110800"/>
              </a:lnSpc>
              <a:spcBef>
                <a:spcPts val="100"/>
              </a:spcBef>
            </a:pPr>
            <a:r>
              <a:rPr sz="1200" b="0" spc="-40" dirty="0">
                <a:solidFill>
                  <a:schemeClr val="tx2"/>
                </a:solidFill>
                <a:latin typeface="Alliance No.2 Medium"/>
                <a:cs typeface="Alliance No.2 Medium"/>
              </a:rPr>
              <a:t>Individuals</a:t>
            </a:r>
            <a:r>
              <a:rPr sz="1200" b="0" spc="-25" dirty="0">
                <a:solidFill>
                  <a:schemeClr val="tx2"/>
                </a:solidFill>
                <a:latin typeface="Alliance No.2 Medium"/>
                <a:cs typeface="Alliance No.2 Medium"/>
              </a:rPr>
              <a:t> </a:t>
            </a:r>
            <a:r>
              <a:rPr sz="1200" b="0" spc="-40" dirty="0">
                <a:solidFill>
                  <a:schemeClr val="tx2"/>
                </a:solidFill>
                <a:latin typeface="Alliance No.2 Medium"/>
                <a:cs typeface="Alliance No.2 Medium"/>
              </a:rPr>
              <a:t>that</a:t>
            </a:r>
            <a:r>
              <a:rPr sz="1200" b="0" spc="-25" dirty="0">
                <a:solidFill>
                  <a:schemeClr val="tx2"/>
                </a:solidFill>
                <a:latin typeface="Alliance No.2 Medium"/>
                <a:cs typeface="Alliance No.2 Medium"/>
              </a:rPr>
              <a:t> </a:t>
            </a:r>
            <a:r>
              <a:rPr sz="1200" b="0" spc="-40" dirty="0">
                <a:solidFill>
                  <a:schemeClr val="tx2"/>
                </a:solidFill>
                <a:latin typeface="Alliance No.2 Medium"/>
                <a:cs typeface="Alliance No.2 Medium"/>
              </a:rPr>
              <a:t>are</a:t>
            </a:r>
            <a:r>
              <a:rPr sz="1200" b="0" spc="-25" dirty="0">
                <a:solidFill>
                  <a:schemeClr val="tx2"/>
                </a:solidFill>
                <a:latin typeface="Alliance No.2 Medium"/>
                <a:cs typeface="Alliance No.2 Medium"/>
              </a:rPr>
              <a:t> </a:t>
            </a:r>
            <a:r>
              <a:rPr sz="1200" b="0" spc="-20" dirty="0">
                <a:solidFill>
                  <a:schemeClr val="tx2"/>
                </a:solidFill>
                <a:latin typeface="Alliance No.2 Medium"/>
                <a:cs typeface="Alliance No.2 Medium"/>
              </a:rPr>
              <a:t>interested </a:t>
            </a:r>
            <a:r>
              <a:rPr sz="1200" b="0" spc="-25" dirty="0">
                <a:solidFill>
                  <a:schemeClr val="tx2"/>
                </a:solidFill>
                <a:latin typeface="Alliance No.2 Medium"/>
                <a:cs typeface="Alliance No.2 Medium"/>
              </a:rPr>
              <a:t>or</a:t>
            </a:r>
            <a:r>
              <a:rPr sz="1200" b="0" spc="-40" dirty="0">
                <a:solidFill>
                  <a:schemeClr val="tx2"/>
                </a:solidFill>
                <a:latin typeface="Alliance No.2 Medium"/>
                <a:cs typeface="Alliance No.2 Medium"/>
              </a:rPr>
              <a:t> </a:t>
            </a:r>
            <a:r>
              <a:rPr sz="1200" b="0" spc="-45" dirty="0">
                <a:solidFill>
                  <a:schemeClr val="tx2"/>
                </a:solidFill>
                <a:latin typeface="Alliance No.2 Medium"/>
                <a:cs typeface="Alliance No.2 Medium"/>
              </a:rPr>
              <a:t>have</a:t>
            </a:r>
            <a:r>
              <a:rPr sz="1200" b="0" spc="-35" dirty="0">
                <a:solidFill>
                  <a:schemeClr val="tx2"/>
                </a:solidFill>
                <a:latin typeface="Alliance No.2 Medium"/>
                <a:cs typeface="Alliance No.2 Medium"/>
              </a:rPr>
              <a:t> questions</a:t>
            </a:r>
            <a:r>
              <a:rPr sz="1200" b="0" spc="-40" dirty="0">
                <a:solidFill>
                  <a:schemeClr val="tx2"/>
                </a:solidFill>
                <a:latin typeface="Alliance No.2 Medium"/>
                <a:cs typeface="Alliance No.2 Medium"/>
              </a:rPr>
              <a:t> </a:t>
            </a:r>
            <a:r>
              <a:rPr sz="1200" b="0" spc="-35" dirty="0">
                <a:solidFill>
                  <a:schemeClr val="tx2"/>
                </a:solidFill>
                <a:latin typeface="Alliance No.2 Medium"/>
                <a:cs typeface="Alliance No.2 Medium"/>
              </a:rPr>
              <a:t>can </a:t>
            </a:r>
            <a:r>
              <a:rPr sz="1200" b="0" spc="-30" dirty="0">
                <a:solidFill>
                  <a:schemeClr val="tx2"/>
                </a:solidFill>
                <a:latin typeface="Alliance No.2 Medium"/>
                <a:cs typeface="Alliance No.2 Medium"/>
              </a:rPr>
              <a:t>contact </a:t>
            </a:r>
            <a:r>
              <a:rPr sz="1200" b="0" spc="-40" dirty="0">
                <a:solidFill>
                  <a:schemeClr val="tx2"/>
                </a:solidFill>
                <a:latin typeface="Alliance No.2 Medium"/>
                <a:cs typeface="Alliance No.2 Medium"/>
              </a:rPr>
              <a:t>Public</a:t>
            </a:r>
            <a:r>
              <a:rPr sz="1200" b="0" spc="-20" dirty="0">
                <a:solidFill>
                  <a:schemeClr val="tx2"/>
                </a:solidFill>
                <a:latin typeface="Alliance No.2 Medium"/>
                <a:cs typeface="Alliance No.2 Medium"/>
              </a:rPr>
              <a:t> </a:t>
            </a:r>
            <a:r>
              <a:rPr sz="1200" b="0" spc="-45" dirty="0">
                <a:solidFill>
                  <a:schemeClr val="tx2"/>
                </a:solidFill>
                <a:latin typeface="Alliance No.2 Medium"/>
                <a:cs typeface="Alliance No.2 Medium"/>
              </a:rPr>
              <a:t>Programs</a:t>
            </a:r>
            <a:r>
              <a:rPr sz="1200" b="0" spc="-20" dirty="0">
                <a:solidFill>
                  <a:schemeClr val="tx2"/>
                </a:solidFill>
                <a:latin typeface="Alliance No.2 Medium"/>
                <a:cs typeface="Alliance No.2 Medium"/>
              </a:rPr>
              <a:t> </a:t>
            </a:r>
            <a:r>
              <a:rPr sz="1200" b="0" spc="-10" dirty="0">
                <a:solidFill>
                  <a:schemeClr val="tx2"/>
                </a:solidFill>
                <a:latin typeface="Alliance No.2 Medium"/>
                <a:cs typeface="Alliance No.2 Medium"/>
              </a:rPr>
              <a:t>Manager, </a:t>
            </a:r>
            <a:r>
              <a:rPr sz="1200" b="0" spc="-35" dirty="0">
                <a:solidFill>
                  <a:schemeClr val="tx2"/>
                </a:solidFill>
                <a:latin typeface="Alliance No.2 Medium"/>
                <a:cs typeface="Alliance No.2 Medium"/>
              </a:rPr>
              <a:t>John </a:t>
            </a:r>
            <a:r>
              <a:rPr sz="1200" b="0" spc="-40" dirty="0">
                <a:solidFill>
                  <a:schemeClr val="tx2"/>
                </a:solidFill>
                <a:latin typeface="Alliance No.2 Medium"/>
                <a:cs typeface="Alliance No.2 Medium"/>
              </a:rPr>
              <a:t>Smith</a:t>
            </a:r>
            <a:r>
              <a:rPr sz="1200" b="0" spc="-30" dirty="0">
                <a:solidFill>
                  <a:schemeClr val="tx2"/>
                </a:solidFill>
                <a:latin typeface="Alliance No.2 Medium"/>
                <a:cs typeface="Alliance No.2 Medium"/>
              </a:rPr>
              <a:t> </a:t>
            </a:r>
            <a:r>
              <a:rPr sz="1200" b="0" spc="-25" dirty="0">
                <a:solidFill>
                  <a:schemeClr val="tx2"/>
                </a:solidFill>
                <a:latin typeface="Alliance No.2 Medium"/>
                <a:cs typeface="Alliance No.2 Medium"/>
              </a:rPr>
              <a:t>at </a:t>
            </a:r>
            <a:r>
              <a:rPr sz="1200" b="1" u="sng" spc="-20" dirty="0">
                <a:solidFill>
                  <a:schemeClr val="tx2"/>
                </a:solidFill>
                <a:uFill>
                  <a:solidFill>
                    <a:srgbClr val="000000"/>
                  </a:solidFill>
                </a:uFill>
                <a:latin typeface="Alliance No.2"/>
                <a:cs typeface="Alliance No.2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ohnsmith@spacecenter.org</a:t>
            </a:r>
            <a:endParaRPr sz="1200" dirty="0">
              <a:solidFill>
                <a:schemeClr val="tx2"/>
              </a:solidFill>
              <a:latin typeface="Alliance No.2"/>
              <a:cs typeface="Alliance No.2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DACBA4D-F4B4-47D2-6887-E93D5F0858D0}"/>
              </a:ext>
            </a:extLst>
          </p:cNvPr>
          <p:cNvGrpSpPr/>
          <p:nvPr/>
        </p:nvGrpSpPr>
        <p:grpSpPr>
          <a:xfrm>
            <a:off x="5827441" y="8934774"/>
            <a:ext cx="1476647" cy="655314"/>
            <a:chOff x="5826349" y="8960221"/>
            <a:chExt cx="1476647" cy="655314"/>
          </a:xfrm>
        </p:grpSpPr>
        <p:pic>
          <p:nvPicPr>
            <p:cNvPr id="9" name="object 9"/>
            <p:cNvPicPr/>
            <p:nvPr>
              <p:custDataLst>
                <p:tags r:id="rId2"/>
              </p:custDataLst>
            </p:nvPr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37206" y="8984052"/>
              <a:ext cx="965790" cy="631483"/>
            </a:xfrm>
            <a:prstGeom prst="rect">
              <a:avLst/>
            </a:prstGeom>
          </p:spPr>
        </p:pic>
        <p:grpSp>
          <p:nvGrpSpPr>
            <p:cNvPr id="10" name="object 10"/>
            <p:cNvGrpSpPr/>
            <p:nvPr/>
          </p:nvGrpSpPr>
          <p:grpSpPr>
            <a:xfrm>
              <a:off x="5826349" y="8960221"/>
              <a:ext cx="423545" cy="459105"/>
              <a:chOff x="5826349" y="8960221"/>
              <a:chExt cx="423545" cy="459105"/>
            </a:xfrm>
          </p:grpSpPr>
          <p:pic>
            <p:nvPicPr>
              <p:cNvPr id="11" name="object 11"/>
              <p:cNvPicPr/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967014" y="9118596"/>
                <a:ext cx="141922" cy="141922"/>
              </a:xfrm>
              <a:prstGeom prst="rect">
                <a:avLst/>
              </a:prstGeom>
            </p:spPr>
          </p:pic>
          <p:sp>
            <p:nvSpPr>
              <p:cNvPr id="12" name="object 12"/>
              <p:cNvSpPr/>
              <p:nvPr/>
            </p:nvSpPr>
            <p:spPr>
              <a:xfrm>
                <a:off x="5826341" y="8960231"/>
                <a:ext cx="423545" cy="459105"/>
              </a:xfrm>
              <a:custGeom>
                <a:avLst/>
                <a:gdLst/>
                <a:ahLst/>
                <a:cxnLst/>
                <a:rect l="l" t="t" r="r" b="b"/>
                <a:pathLst>
                  <a:path w="423545" h="459104">
                    <a:moveTo>
                      <a:pt x="346417" y="111226"/>
                    </a:moveTo>
                    <a:lnTo>
                      <a:pt x="285394" y="68859"/>
                    </a:lnTo>
                    <a:lnTo>
                      <a:pt x="229425" y="39941"/>
                    </a:lnTo>
                    <a:lnTo>
                      <a:pt x="176885" y="18897"/>
                    </a:lnTo>
                    <a:lnTo>
                      <a:pt x="128955" y="5626"/>
                    </a:lnTo>
                    <a:lnTo>
                      <a:pt x="86829" y="0"/>
                    </a:lnTo>
                    <a:lnTo>
                      <a:pt x="51701" y="1905"/>
                    </a:lnTo>
                    <a:lnTo>
                      <a:pt x="24765" y="11214"/>
                    </a:lnTo>
                    <a:lnTo>
                      <a:pt x="7188" y="27813"/>
                    </a:lnTo>
                    <a:lnTo>
                      <a:pt x="0" y="58331"/>
                    </a:lnTo>
                    <a:lnTo>
                      <a:pt x="9779" y="95808"/>
                    </a:lnTo>
                    <a:lnTo>
                      <a:pt x="34836" y="137998"/>
                    </a:lnTo>
                    <a:lnTo>
                      <a:pt x="73507" y="182626"/>
                    </a:lnTo>
                    <a:lnTo>
                      <a:pt x="124079" y="227418"/>
                    </a:lnTo>
                    <a:lnTo>
                      <a:pt x="126072" y="228993"/>
                    </a:lnTo>
                    <a:lnTo>
                      <a:pt x="128930" y="228841"/>
                    </a:lnTo>
                    <a:lnTo>
                      <a:pt x="130733" y="227037"/>
                    </a:lnTo>
                    <a:lnTo>
                      <a:pt x="132880" y="224891"/>
                    </a:lnTo>
                    <a:lnTo>
                      <a:pt x="132829" y="221653"/>
                    </a:lnTo>
                    <a:lnTo>
                      <a:pt x="130797" y="219710"/>
                    </a:lnTo>
                    <a:lnTo>
                      <a:pt x="89293" y="174548"/>
                    </a:lnTo>
                    <a:lnTo>
                      <a:pt x="61899" y="131826"/>
                    </a:lnTo>
                    <a:lnTo>
                      <a:pt x="50495" y="94030"/>
                    </a:lnTo>
                    <a:lnTo>
                      <a:pt x="56972" y="63703"/>
                    </a:lnTo>
                    <a:lnTo>
                      <a:pt x="75476" y="47167"/>
                    </a:lnTo>
                    <a:lnTo>
                      <a:pt x="103936" y="39065"/>
                    </a:lnTo>
                    <a:lnTo>
                      <a:pt x="140690" y="39077"/>
                    </a:lnTo>
                    <a:lnTo>
                      <a:pt x="184111" y="46901"/>
                    </a:lnTo>
                    <a:lnTo>
                      <a:pt x="232587" y="62230"/>
                    </a:lnTo>
                    <a:lnTo>
                      <a:pt x="284441" y="84759"/>
                    </a:lnTo>
                    <a:lnTo>
                      <a:pt x="340055" y="115354"/>
                    </a:lnTo>
                    <a:lnTo>
                      <a:pt x="342595" y="115049"/>
                    </a:lnTo>
                    <a:lnTo>
                      <a:pt x="346417" y="111226"/>
                    </a:lnTo>
                    <a:close/>
                  </a:path>
                  <a:path w="423545" h="459104">
                    <a:moveTo>
                      <a:pt x="423265" y="400329"/>
                    </a:moveTo>
                    <a:lnTo>
                      <a:pt x="413486" y="362851"/>
                    </a:lnTo>
                    <a:lnTo>
                      <a:pt x="388416" y="320662"/>
                    </a:lnTo>
                    <a:lnTo>
                      <a:pt x="349758" y="276034"/>
                    </a:lnTo>
                    <a:lnTo>
                      <a:pt x="299186" y="231228"/>
                    </a:lnTo>
                    <a:lnTo>
                      <a:pt x="297192" y="229654"/>
                    </a:lnTo>
                    <a:lnTo>
                      <a:pt x="294335" y="229819"/>
                    </a:lnTo>
                    <a:lnTo>
                      <a:pt x="290385" y="233756"/>
                    </a:lnTo>
                    <a:lnTo>
                      <a:pt x="290436" y="236994"/>
                    </a:lnTo>
                    <a:lnTo>
                      <a:pt x="292481" y="238937"/>
                    </a:lnTo>
                    <a:lnTo>
                      <a:pt x="333971" y="284111"/>
                    </a:lnTo>
                    <a:lnTo>
                      <a:pt x="361365" y="326834"/>
                    </a:lnTo>
                    <a:lnTo>
                      <a:pt x="372757" y="364617"/>
                    </a:lnTo>
                    <a:lnTo>
                      <a:pt x="366293" y="394944"/>
                    </a:lnTo>
                    <a:lnTo>
                      <a:pt x="347776" y="411492"/>
                    </a:lnTo>
                    <a:lnTo>
                      <a:pt x="319328" y="419595"/>
                    </a:lnTo>
                    <a:lnTo>
                      <a:pt x="282575" y="419582"/>
                    </a:lnTo>
                    <a:lnTo>
                      <a:pt x="239141" y="411759"/>
                    </a:lnTo>
                    <a:lnTo>
                      <a:pt x="190677" y="396430"/>
                    </a:lnTo>
                    <a:lnTo>
                      <a:pt x="138811" y="373900"/>
                    </a:lnTo>
                    <a:lnTo>
                      <a:pt x="83210" y="343306"/>
                    </a:lnTo>
                    <a:lnTo>
                      <a:pt x="80670" y="343598"/>
                    </a:lnTo>
                    <a:lnTo>
                      <a:pt x="76847" y="347421"/>
                    </a:lnTo>
                    <a:lnTo>
                      <a:pt x="77127" y="351091"/>
                    </a:lnTo>
                    <a:lnTo>
                      <a:pt x="137871" y="389788"/>
                    </a:lnTo>
                    <a:lnTo>
                      <a:pt x="193840" y="418719"/>
                    </a:lnTo>
                    <a:lnTo>
                      <a:pt x="246380" y="439750"/>
                    </a:lnTo>
                    <a:lnTo>
                      <a:pt x="294309" y="453034"/>
                    </a:lnTo>
                    <a:lnTo>
                      <a:pt x="336435" y="458660"/>
                    </a:lnTo>
                    <a:lnTo>
                      <a:pt x="371563" y="456755"/>
                    </a:lnTo>
                    <a:lnTo>
                      <a:pt x="398500" y="447446"/>
                    </a:lnTo>
                    <a:lnTo>
                      <a:pt x="416077" y="430834"/>
                    </a:lnTo>
                    <a:lnTo>
                      <a:pt x="423265" y="400329"/>
                    </a:lnTo>
                    <a:close/>
                  </a:path>
                </a:pathLst>
              </a:custGeom>
              <a:solidFill>
                <a:srgbClr val="000013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</p:grpSp>
      <p:sp>
        <p:nvSpPr>
          <p:cNvPr id="13" name="object 13"/>
          <p:cNvSpPr/>
          <p:nvPr/>
        </p:nvSpPr>
        <p:spPr>
          <a:xfrm>
            <a:off x="3966528" y="7251561"/>
            <a:ext cx="0" cy="2007235"/>
          </a:xfrm>
          <a:custGeom>
            <a:avLst/>
            <a:gdLst/>
            <a:ahLst/>
            <a:cxnLst/>
            <a:rect l="l" t="t" r="r" b="b"/>
            <a:pathLst>
              <a:path h="2007234">
                <a:moveTo>
                  <a:pt x="0" y="0"/>
                </a:moveTo>
                <a:lnTo>
                  <a:pt x="0" y="2006968"/>
                </a:lnTo>
              </a:path>
            </a:pathLst>
          </a:custGeom>
          <a:ln w="9525" cap="rnd">
            <a:solidFill>
              <a:srgbClr val="00001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4">
            <a:extLst>
              <a:ext uri="{FF2B5EF4-FFF2-40B4-BE49-F238E27FC236}">
                <a16:creationId xmlns:a16="http://schemas.microsoft.com/office/drawing/2014/main" id="{A7B1962D-5A1D-F2CB-9A81-C7F0F804B13E}"/>
              </a:ext>
            </a:extLst>
          </p:cNvPr>
          <p:cNvSpPr txBox="1"/>
          <p:nvPr/>
        </p:nvSpPr>
        <p:spPr>
          <a:xfrm>
            <a:off x="477520" y="5795393"/>
            <a:ext cx="6858497" cy="846386"/>
          </a:xfrm>
          <a:prstGeom prst="rect">
            <a:avLst/>
          </a:prstGeom>
        </p:spPr>
        <p:txBody>
          <a:bodyPr vert="horz" wrap="square" lIns="0" tIns="106680" rIns="0" bIns="0" rtlCol="0" anchor="t">
            <a:normAutofit/>
          </a:bodyPr>
          <a:lstStyle/>
          <a:p>
            <a:pPr marR="894715">
              <a:lnSpc>
                <a:spcPct val="100000"/>
              </a:lnSpc>
            </a:pPr>
            <a:r>
              <a:rPr sz="1600" b="0" spc="-50" dirty="0">
                <a:solidFill>
                  <a:schemeClr val="tx2"/>
                </a:solidFill>
                <a:latin typeface="Alliance No.2 Medium"/>
                <a:cs typeface="Alliance No.2 Medium"/>
              </a:rPr>
              <a:t>Lorem</a:t>
            </a:r>
            <a:r>
              <a:rPr sz="1600" b="0" spc="-60" dirty="0">
                <a:solidFill>
                  <a:schemeClr val="tx2"/>
                </a:solidFill>
                <a:latin typeface="Alliance No.2 Medium"/>
                <a:cs typeface="Alliance No.2 Medium"/>
              </a:rPr>
              <a:t> </a:t>
            </a:r>
            <a:r>
              <a:rPr sz="1600" b="0" spc="-40" dirty="0">
                <a:solidFill>
                  <a:schemeClr val="tx2"/>
                </a:solidFill>
                <a:latin typeface="Alliance No.2 Medium"/>
                <a:cs typeface="Alliance No.2 Medium"/>
              </a:rPr>
              <a:t>ipsum</a:t>
            </a:r>
            <a:r>
              <a:rPr sz="1600" b="0" spc="-45" dirty="0">
                <a:solidFill>
                  <a:schemeClr val="tx2"/>
                </a:solidFill>
                <a:latin typeface="Alliance No.2 Medium"/>
                <a:cs typeface="Alliance No.2 Medium"/>
              </a:rPr>
              <a:t> </a:t>
            </a:r>
            <a:r>
              <a:rPr sz="1600" b="0" spc="-40" dirty="0">
                <a:solidFill>
                  <a:schemeClr val="tx2"/>
                </a:solidFill>
                <a:latin typeface="Alliance No.2 Medium"/>
                <a:cs typeface="Alliance No.2 Medium"/>
              </a:rPr>
              <a:t>dolor</a:t>
            </a:r>
            <a:r>
              <a:rPr sz="1600" b="0" spc="-45" dirty="0">
                <a:solidFill>
                  <a:schemeClr val="tx2"/>
                </a:solidFill>
                <a:latin typeface="Alliance No.2 Medium"/>
                <a:cs typeface="Alliance No.2 Medium"/>
              </a:rPr>
              <a:t> </a:t>
            </a:r>
            <a:r>
              <a:rPr sz="1600" b="0" spc="-35" dirty="0">
                <a:solidFill>
                  <a:schemeClr val="tx2"/>
                </a:solidFill>
                <a:latin typeface="Alliance No.2 Medium"/>
                <a:cs typeface="Alliance No.2 Medium"/>
              </a:rPr>
              <a:t>sit</a:t>
            </a:r>
            <a:r>
              <a:rPr sz="1600" b="0" spc="-45" dirty="0">
                <a:solidFill>
                  <a:schemeClr val="tx2"/>
                </a:solidFill>
                <a:latin typeface="Alliance No.2 Medium"/>
                <a:cs typeface="Alliance No.2 Medium"/>
              </a:rPr>
              <a:t> </a:t>
            </a:r>
            <a:r>
              <a:rPr sz="1600" b="0" spc="-40" dirty="0" err="1">
                <a:solidFill>
                  <a:schemeClr val="tx2"/>
                </a:solidFill>
                <a:latin typeface="Alliance No.2 Medium"/>
                <a:cs typeface="Alliance No.2 Medium"/>
              </a:rPr>
              <a:t>amet</a:t>
            </a:r>
            <a:r>
              <a:rPr sz="1600" b="0" spc="-40" dirty="0">
                <a:solidFill>
                  <a:schemeClr val="tx2"/>
                </a:solidFill>
                <a:latin typeface="Alliance No.2 Medium"/>
                <a:cs typeface="Alliance No.2 Medium"/>
              </a:rPr>
              <a:t>,</a:t>
            </a:r>
            <a:r>
              <a:rPr sz="1600" b="0" spc="-45" dirty="0">
                <a:solidFill>
                  <a:schemeClr val="tx2"/>
                </a:solidFill>
                <a:latin typeface="Alliance No.2 Medium"/>
                <a:cs typeface="Alliance No.2 Medium"/>
              </a:rPr>
              <a:t> </a:t>
            </a:r>
            <a:r>
              <a:rPr sz="1600" b="0" spc="-45" dirty="0" err="1">
                <a:solidFill>
                  <a:schemeClr val="tx2"/>
                </a:solidFill>
                <a:latin typeface="Alliance No.2 Medium"/>
                <a:cs typeface="Alliance No.2 Medium"/>
              </a:rPr>
              <a:t>consectetuer</a:t>
            </a:r>
            <a:r>
              <a:rPr sz="1600" b="0" spc="-45" dirty="0">
                <a:solidFill>
                  <a:schemeClr val="tx2"/>
                </a:solidFill>
                <a:latin typeface="Alliance No.2 Medium"/>
                <a:cs typeface="Alliance No.2 Medium"/>
              </a:rPr>
              <a:t> </a:t>
            </a:r>
            <a:r>
              <a:rPr sz="1600" b="0" spc="-45" dirty="0" err="1">
                <a:solidFill>
                  <a:schemeClr val="tx2"/>
                </a:solidFill>
                <a:latin typeface="Alliance No.2 Medium"/>
                <a:cs typeface="Alliance No.2 Medium"/>
              </a:rPr>
              <a:t>adipiscing</a:t>
            </a:r>
            <a:r>
              <a:rPr sz="1600" b="0" spc="-45" dirty="0">
                <a:solidFill>
                  <a:schemeClr val="tx2"/>
                </a:solidFill>
                <a:latin typeface="Alliance No.2 Medium"/>
                <a:cs typeface="Alliance No.2 Medium"/>
              </a:rPr>
              <a:t> </a:t>
            </a:r>
            <a:r>
              <a:rPr sz="1600" b="0" spc="-10" dirty="0" err="1">
                <a:solidFill>
                  <a:schemeClr val="tx2"/>
                </a:solidFill>
                <a:latin typeface="Alliance No.2 Medium"/>
                <a:cs typeface="Alliance No.2 Medium"/>
              </a:rPr>
              <a:t>elit</a:t>
            </a:r>
            <a:r>
              <a:rPr sz="1600" b="0" spc="-10" dirty="0">
                <a:solidFill>
                  <a:schemeClr val="tx2"/>
                </a:solidFill>
                <a:latin typeface="Alliance No.2 Medium"/>
                <a:cs typeface="Alliance No.2 Medium"/>
              </a:rPr>
              <a:t>, </a:t>
            </a:r>
            <a:r>
              <a:rPr sz="1600" b="0" spc="-25" dirty="0">
                <a:solidFill>
                  <a:schemeClr val="tx2"/>
                </a:solidFill>
                <a:latin typeface="Alliance No.2 Medium"/>
                <a:cs typeface="Alliance No.2 Medium"/>
              </a:rPr>
              <a:t>sed</a:t>
            </a:r>
            <a:r>
              <a:rPr sz="1600" b="0" spc="-60" dirty="0">
                <a:solidFill>
                  <a:schemeClr val="tx2"/>
                </a:solidFill>
                <a:latin typeface="Alliance No.2 Medium"/>
                <a:cs typeface="Alliance No.2 Medium"/>
              </a:rPr>
              <a:t> </a:t>
            </a:r>
            <a:r>
              <a:rPr sz="1600" b="0" spc="-40" dirty="0">
                <a:solidFill>
                  <a:schemeClr val="tx2"/>
                </a:solidFill>
                <a:latin typeface="Alliance No.2 Medium"/>
                <a:cs typeface="Alliance No.2 Medium"/>
              </a:rPr>
              <a:t>diam</a:t>
            </a:r>
            <a:r>
              <a:rPr sz="1600" b="0" spc="-50" dirty="0">
                <a:solidFill>
                  <a:schemeClr val="tx2"/>
                </a:solidFill>
                <a:latin typeface="Alliance No.2 Medium"/>
                <a:cs typeface="Alliance No.2 Medium"/>
              </a:rPr>
              <a:t> </a:t>
            </a:r>
            <a:r>
              <a:rPr sz="1600" b="0" spc="-50" dirty="0" err="1">
                <a:solidFill>
                  <a:schemeClr val="tx2"/>
                </a:solidFill>
                <a:latin typeface="Alliance No.2 Medium"/>
                <a:cs typeface="Alliance No.2 Medium"/>
              </a:rPr>
              <a:t>nonummy</a:t>
            </a:r>
            <a:r>
              <a:rPr sz="1600" b="0" spc="-45" dirty="0">
                <a:solidFill>
                  <a:schemeClr val="tx2"/>
                </a:solidFill>
                <a:latin typeface="Alliance No.2 Medium"/>
                <a:cs typeface="Alliance No.2 Medium"/>
              </a:rPr>
              <a:t> </a:t>
            </a:r>
            <a:r>
              <a:rPr sz="1600" b="0" spc="-40" dirty="0" err="1">
                <a:solidFill>
                  <a:schemeClr val="tx2"/>
                </a:solidFill>
                <a:latin typeface="Alliance No.2 Medium"/>
                <a:cs typeface="Alliance No.2 Medium"/>
              </a:rPr>
              <a:t>nibh</a:t>
            </a:r>
            <a:r>
              <a:rPr sz="1600" b="0" spc="-50" dirty="0">
                <a:solidFill>
                  <a:schemeClr val="tx2"/>
                </a:solidFill>
                <a:latin typeface="Alliance No.2 Medium"/>
                <a:cs typeface="Alliance No.2 Medium"/>
              </a:rPr>
              <a:t> </a:t>
            </a:r>
            <a:r>
              <a:rPr sz="1600" b="0" spc="-45" dirty="0" err="1">
                <a:solidFill>
                  <a:schemeClr val="tx2"/>
                </a:solidFill>
                <a:latin typeface="Alliance No.2 Medium"/>
                <a:cs typeface="Alliance No.2 Medium"/>
              </a:rPr>
              <a:t>euismod</a:t>
            </a:r>
            <a:r>
              <a:rPr sz="1600" b="0" spc="-45" dirty="0">
                <a:solidFill>
                  <a:schemeClr val="tx2"/>
                </a:solidFill>
                <a:latin typeface="Alliance No.2 Medium"/>
                <a:cs typeface="Alliance No.2 Medium"/>
              </a:rPr>
              <a:t> </a:t>
            </a:r>
            <a:r>
              <a:rPr sz="1600" b="0" spc="-45" dirty="0" err="1">
                <a:solidFill>
                  <a:schemeClr val="tx2"/>
                </a:solidFill>
                <a:latin typeface="Alliance No.2 Medium"/>
                <a:cs typeface="Alliance No.2 Medium"/>
              </a:rPr>
              <a:t>tincidunt</a:t>
            </a:r>
            <a:r>
              <a:rPr sz="1600" b="0" spc="-50" dirty="0">
                <a:solidFill>
                  <a:schemeClr val="tx2"/>
                </a:solidFill>
                <a:latin typeface="Alliance No.2 Medium"/>
                <a:cs typeface="Alliance No.2 Medium"/>
              </a:rPr>
              <a:t> </a:t>
            </a:r>
            <a:r>
              <a:rPr sz="1600" b="0" spc="-25" dirty="0" err="1">
                <a:solidFill>
                  <a:schemeClr val="tx2"/>
                </a:solidFill>
                <a:latin typeface="Alliance No.2 Medium"/>
                <a:cs typeface="Alliance No.2 Medium"/>
              </a:rPr>
              <a:t>ut</a:t>
            </a:r>
            <a:r>
              <a:rPr sz="1600" b="0" spc="-45" dirty="0">
                <a:solidFill>
                  <a:schemeClr val="tx2"/>
                </a:solidFill>
                <a:latin typeface="Alliance No.2 Medium"/>
                <a:cs typeface="Alliance No.2 Medium"/>
              </a:rPr>
              <a:t> </a:t>
            </a:r>
            <a:r>
              <a:rPr sz="1600" b="0" spc="-10" dirty="0" err="1">
                <a:solidFill>
                  <a:schemeClr val="tx2"/>
                </a:solidFill>
                <a:latin typeface="Alliance No.2 Medium"/>
                <a:cs typeface="Alliance No.2 Medium"/>
              </a:rPr>
              <a:t>laoreet</a:t>
            </a:r>
            <a:r>
              <a:rPr sz="1600" b="0" spc="-10" dirty="0">
                <a:solidFill>
                  <a:schemeClr val="tx2"/>
                </a:solidFill>
                <a:latin typeface="Alliance No.2 Medium"/>
                <a:cs typeface="Alliance No.2 Medium"/>
              </a:rPr>
              <a:t> </a:t>
            </a:r>
            <a:r>
              <a:rPr sz="1600" b="0" spc="-50" dirty="0">
                <a:solidFill>
                  <a:schemeClr val="tx2"/>
                </a:solidFill>
                <a:latin typeface="Alliance No.2 Medium"/>
                <a:cs typeface="Alliance No.2 Medium"/>
              </a:rPr>
              <a:t>dolore</a:t>
            </a:r>
            <a:r>
              <a:rPr sz="1600" b="0" spc="-45" dirty="0">
                <a:solidFill>
                  <a:schemeClr val="tx2"/>
                </a:solidFill>
                <a:latin typeface="Alliance No.2 Medium"/>
                <a:cs typeface="Alliance No.2 Medium"/>
              </a:rPr>
              <a:t> </a:t>
            </a:r>
            <a:r>
              <a:rPr sz="1600" b="0" spc="-40" dirty="0">
                <a:solidFill>
                  <a:schemeClr val="tx2"/>
                </a:solidFill>
                <a:latin typeface="Alliance No.2 Medium"/>
                <a:cs typeface="Alliance No.2 Medium"/>
              </a:rPr>
              <a:t>magna</a:t>
            </a:r>
            <a:r>
              <a:rPr sz="1600" b="0" spc="-45" dirty="0">
                <a:solidFill>
                  <a:schemeClr val="tx2"/>
                </a:solidFill>
                <a:latin typeface="Alliance No.2 Medium"/>
                <a:cs typeface="Alliance No.2 Medium"/>
              </a:rPr>
              <a:t> </a:t>
            </a:r>
            <a:r>
              <a:rPr sz="1600" b="0" spc="-45" dirty="0" err="1">
                <a:solidFill>
                  <a:schemeClr val="tx2"/>
                </a:solidFill>
                <a:latin typeface="Alliance No.2 Medium"/>
                <a:cs typeface="Alliance No.2 Medium"/>
              </a:rPr>
              <a:t>aliquam</a:t>
            </a:r>
            <a:r>
              <a:rPr sz="1600" b="0" spc="-45" dirty="0">
                <a:solidFill>
                  <a:schemeClr val="tx2"/>
                </a:solidFill>
                <a:latin typeface="Alliance No.2 Medium"/>
                <a:cs typeface="Alliance No.2 Medium"/>
              </a:rPr>
              <a:t> </a:t>
            </a:r>
            <a:r>
              <a:rPr sz="1600" b="0" spc="-55" dirty="0" err="1">
                <a:solidFill>
                  <a:schemeClr val="tx2"/>
                </a:solidFill>
                <a:latin typeface="Alliance No.2 Medium"/>
                <a:cs typeface="Alliance No.2 Medium"/>
              </a:rPr>
              <a:t>erat</a:t>
            </a:r>
            <a:r>
              <a:rPr sz="1600" b="0" spc="-40" dirty="0">
                <a:solidFill>
                  <a:schemeClr val="tx2"/>
                </a:solidFill>
                <a:latin typeface="Alliance No.2 Medium"/>
                <a:cs typeface="Alliance No.2 Medium"/>
              </a:rPr>
              <a:t> </a:t>
            </a:r>
            <a:r>
              <a:rPr sz="1600" b="0" spc="-10" dirty="0" err="1">
                <a:solidFill>
                  <a:schemeClr val="tx2"/>
                </a:solidFill>
                <a:latin typeface="Alliance No.2 Medium"/>
                <a:cs typeface="Alliance No.2 Medium"/>
              </a:rPr>
              <a:t>volutpat</a:t>
            </a:r>
            <a:r>
              <a:rPr sz="1600" b="0" spc="-10" dirty="0">
                <a:solidFill>
                  <a:schemeClr val="tx2"/>
                </a:solidFill>
                <a:latin typeface="Alliance No.2 Medium"/>
                <a:cs typeface="Alliance No.2 Medium"/>
              </a:rPr>
              <a:t>.</a:t>
            </a:r>
            <a:endParaRPr sz="1600" dirty="0">
              <a:solidFill>
                <a:schemeClr val="tx2"/>
              </a:solidFill>
              <a:latin typeface="Alliance No.2 Medium"/>
              <a:cs typeface="Alliance No.2 Medium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3827DA6-AE14-E27B-67DF-F2759C6CBD5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162788" y="7244857"/>
            <a:ext cx="176169" cy="155443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0"/>
            <a:ext cx="7772400" cy="4220845"/>
          </a:xfrm>
          <a:custGeom>
            <a:avLst/>
            <a:gdLst/>
            <a:ahLst/>
            <a:cxnLst/>
            <a:rect l="l" t="t" r="r" b="b"/>
            <a:pathLst>
              <a:path w="7772400" h="4220845">
                <a:moveTo>
                  <a:pt x="7772400" y="0"/>
                </a:moveTo>
                <a:lnTo>
                  <a:pt x="0" y="0"/>
                </a:lnTo>
                <a:lnTo>
                  <a:pt x="0" y="4220730"/>
                </a:lnTo>
                <a:lnTo>
                  <a:pt x="7772400" y="4220730"/>
                </a:lnTo>
                <a:lnTo>
                  <a:pt x="7772400" y="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479127" y="1335595"/>
            <a:ext cx="3943985" cy="2509520"/>
          </a:xfrm>
          <a:prstGeom prst="rect">
            <a:avLst/>
          </a:prstGeom>
        </p:spPr>
        <p:txBody>
          <a:bodyPr vert="horz" wrap="square" lIns="0" tIns="160020" rIns="0" bIns="0" rtlCol="0" anchor="b">
            <a:normAutofit/>
          </a:bodyPr>
          <a:lstStyle/>
          <a:p>
            <a:pPr marL="12700" marR="5080">
              <a:lnSpc>
                <a:spcPct val="79800"/>
              </a:lnSpc>
              <a:spcBef>
                <a:spcPts val="1260"/>
              </a:spcBef>
            </a:pPr>
            <a:r>
              <a:rPr sz="4800" b="0" spc="-114" dirty="0">
                <a:solidFill>
                  <a:srgbClr val="FFFFFF"/>
                </a:solidFill>
                <a:latin typeface="Alliance No.2" pitchFamily="50" charset="0"/>
                <a:cs typeface="Alliance No.2 Medium"/>
              </a:rPr>
              <a:t>Lorem</a:t>
            </a:r>
            <a:r>
              <a:rPr sz="4800" b="0" spc="-160" dirty="0">
                <a:solidFill>
                  <a:srgbClr val="FFFFFF"/>
                </a:solidFill>
                <a:latin typeface="Alliance No.2" pitchFamily="50" charset="0"/>
                <a:cs typeface="Alliance No.2 Medium"/>
              </a:rPr>
              <a:t> </a:t>
            </a:r>
            <a:r>
              <a:rPr sz="4800" b="0" spc="-10" dirty="0">
                <a:solidFill>
                  <a:srgbClr val="FFFFFF"/>
                </a:solidFill>
                <a:latin typeface="Alliance No.2" pitchFamily="50" charset="0"/>
                <a:cs typeface="Alliance No.2 Medium"/>
              </a:rPr>
              <a:t>ipsum </a:t>
            </a:r>
            <a:r>
              <a:rPr sz="4800" b="0" spc="-85" dirty="0">
                <a:solidFill>
                  <a:srgbClr val="FFFFFF"/>
                </a:solidFill>
                <a:latin typeface="Alliance No.2" pitchFamily="50" charset="0"/>
                <a:cs typeface="Alliance No.2 Medium"/>
              </a:rPr>
              <a:t>dolor</a:t>
            </a:r>
            <a:r>
              <a:rPr sz="4800" b="0" spc="-195" dirty="0">
                <a:solidFill>
                  <a:srgbClr val="FFFFFF"/>
                </a:solidFill>
                <a:latin typeface="Alliance No.2" pitchFamily="50" charset="0"/>
                <a:cs typeface="Alliance No.2 Medium"/>
              </a:rPr>
              <a:t> </a:t>
            </a:r>
            <a:r>
              <a:rPr sz="4800" b="0" spc="-65" dirty="0">
                <a:solidFill>
                  <a:srgbClr val="FFFFFF"/>
                </a:solidFill>
                <a:latin typeface="Alliance No.2" pitchFamily="50" charset="0"/>
                <a:cs typeface="Alliance No.2 Medium"/>
              </a:rPr>
              <a:t>sit</a:t>
            </a:r>
            <a:r>
              <a:rPr sz="4800" b="0" spc="-185" dirty="0">
                <a:solidFill>
                  <a:srgbClr val="FFFFFF"/>
                </a:solidFill>
                <a:latin typeface="Alliance No.2" pitchFamily="50" charset="0"/>
                <a:cs typeface="Alliance No.2 Medium"/>
              </a:rPr>
              <a:t> </a:t>
            </a:r>
            <a:r>
              <a:rPr sz="4800" b="0" spc="-75" dirty="0" err="1">
                <a:solidFill>
                  <a:srgbClr val="FFFFFF"/>
                </a:solidFill>
                <a:latin typeface="Alliance No.2" pitchFamily="50" charset="0"/>
                <a:cs typeface="Alliance No.2 Medium"/>
              </a:rPr>
              <a:t>amet</a:t>
            </a:r>
            <a:r>
              <a:rPr sz="4800" b="0" spc="-75" dirty="0">
                <a:solidFill>
                  <a:srgbClr val="FFFFFF"/>
                </a:solidFill>
                <a:latin typeface="Alliance No.2" pitchFamily="50" charset="0"/>
                <a:cs typeface="Alliance No.2 Medium"/>
              </a:rPr>
              <a:t>, </a:t>
            </a:r>
            <a:r>
              <a:rPr sz="4800" b="0" spc="-25" dirty="0" err="1">
                <a:solidFill>
                  <a:srgbClr val="FFFFFF"/>
                </a:solidFill>
                <a:latin typeface="Alliance No.2" pitchFamily="50" charset="0"/>
                <a:cs typeface="Alliance No.2 Medium"/>
              </a:rPr>
              <a:t>consectetuer</a:t>
            </a:r>
            <a:r>
              <a:rPr sz="4800" b="0" spc="-25" dirty="0">
                <a:solidFill>
                  <a:srgbClr val="FFFFFF"/>
                </a:solidFill>
                <a:latin typeface="Alliance No.2" pitchFamily="50" charset="0"/>
                <a:cs typeface="Alliance No.2 Medium"/>
              </a:rPr>
              <a:t> </a:t>
            </a:r>
            <a:r>
              <a:rPr sz="4800" b="0" spc="-10" dirty="0" err="1">
                <a:solidFill>
                  <a:srgbClr val="FFFFFF"/>
                </a:solidFill>
                <a:latin typeface="Alliance No.2" pitchFamily="50" charset="0"/>
                <a:cs typeface="Alliance No.2 Medium"/>
              </a:rPr>
              <a:t>adipiscing</a:t>
            </a:r>
            <a:endParaRPr sz="4800" dirty="0">
              <a:latin typeface="Alliance No.2" pitchFamily="50" charset="0"/>
              <a:cs typeface="Alliance No.2 Medium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0FB313D-B5A1-9DFE-C587-353AA726FF1A}"/>
              </a:ext>
            </a:extLst>
          </p:cNvPr>
          <p:cNvGrpSpPr/>
          <p:nvPr/>
        </p:nvGrpSpPr>
        <p:grpSpPr>
          <a:xfrm>
            <a:off x="6076800" y="451446"/>
            <a:ext cx="1237161" cy="548871"/>
            <a:chOff x="6080633" y="451446"/>
            <a:chExt cx="1237161" cy="548871"/>
          </a:xfrm>
        </p:grpSpPr>
        <p:pic>
          <p:nvPicPr>
            <p:cNvPr id="83" name="object 83"/>
            <p:cNvPicPr/>
            <p:nvPr>
              <p:custDataLst>
                <p:tags r:id="rId5"/>
              </p:custDataLst>
            </p:nvPr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508140" y="470913"/>
              <a:ext cx="809654" cy="529404"/>
            </a:xfrm>
            <a:prstGeom prst="rect">
              <a:avLst/>
            </a:prstGeom>
          </p:spPr>
        </p:pic>
        <p:pic>
          <p:nvPicPr>
            <p:cNvPr id="84" name="object 84"/>
            <p:cNvPicPr/>
            <p:nvPr>
              <p:custDataLst>
                <p:tags r:id="rId6"/>
              </p:custDataLst>
            </p:nvPr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97791" y="583707"/>
              <a:ext cx="118986" cy="118986"/>
            </a:xfrm>
            <a:prstGeom prst="rect">
              <a:avLst/>
            </a:prstGeom>
          </p:spPr>
        </p:pic>
        <p:sp>
          <p:nvSpPr>
            <p:cNvPr id="85" name="object 85"/>
            <p:cNvSpPr/>
            <p:nvPr/>
          </p:nvSpPr>
          <p:spPr>
            <a:xfrm>
              <a:off x="6080633" y="451446"/>
              <a:ext cx="353695" cy="383540"/>
            </a:xfrm>
            <a:custGeom>
              <a:avLst/>
              <a:gdLst/>
              <a:ahLst/>
              <a:cxnLst/>
              <a:rect l="l" t="t" r="r" b="b"/>
              <a:pathLst>
                <a:path w="353695" h="383540">
                  <a:moveTo>
                    <a:pt x="289636" y="92748"/>
                  </a:moveTo>
                  <a:lnTo>
                    <a:pt x="231648" y="53365"/>
                  </a:lnTo>
                  <a:lnTo>
                    <a:pt x="178638" y="27279"/>
                  </a:lnTo>
                  <a:lnTo>
                    <a:pt x="129768" y="9791"/>
                  </a:lnTo>
                  <a:lnTo>
                    <a:pt x="86499" y="736"/>
                  </a:lnTo>
                  <a:lnTo>
                    <a:pt x="50330" y="0"/>
                  </a:lnTo>
                  <a:lnTo>
                    <a:pt x="22745" y="7416"/>
                  </a:lnTo>
                  <a:lnTo>
                    <a:pt x="5245" y="22821"/>
                  </a:lnTo>
                  <a:lnTo>
                    <a:pt x="0" y="55778"/>
                  </a:lnTo>
                  <a:lnTo>
                    <a:pt x="16421" y="97129"/>
                  </a:lnTo>
                  <a:lnTo>
                    <a:pt x="51752" y="143167"/>
                  </a:lnTo>
                  <a:lnTo>
                    <a:pt x="103251" y="190169"/>
                  </a:lnTo>
                  <a:lnTo>
                    <a:pt x="104927" y="191477"/>
                  </a:lnTo>
                  <a:lnTo>
                    <a:pt x="107315" y="191350"/>
                  </a:lnTo>
                  <a:lnTo>
                    <a:pt x="108826" y="189839"/>
                  </a:lnTo>
                  <a:lnTo>
                    <a:pt x="110629" y="188036"/>
                  </a:lnTo>
                  <a:lnTo>
                    <a:pt x="110591" y="185331"/>
                  </a:lnTo>
                  <a:lnTo>
                    <a:pt x="108877" y="183692"/>
                  </a:lnTo>
                  <a:lnTo>
                    <a:pt x="74091" y="145834"/>
                  </a:lnTo>
                  <a:lnTo>
                    <a:pt x="51117" y="110007"/>
                  </a:lnTo>
                  <a:lnTo>
                    <a:pt x="41567" y="78333"/>
                  </a:lnTo>
                  <a:lnTo>
                    <a:pt x="46990" y="52908"/>
                  </a:lnTo>
                  <a:lnTo>
                    <a:pt x="71120" y="35496"/>
                  </a:lnTo>
                  <a:lnTo>
                    <a:pt x="110515" y="31724"/>
                  </a:lnTo>
                  <a:lnTo>
                    <a:pt x="161417" y="40906"/>
                  </a:lnTo>
                  <a:lnTo>
                    <a:pt x="220052" y="62293"/>
                  </a:lnTo>
                  <a:lnTo>
                    <a:pt x="284302" y="96202"/>
                  </a:lnTo>
                  <a:lnTo>
                    <a:pt x="286435" y="95961"/>
                  </a:lnTo>
                  <a:lnTo>
                    <a:pt x="289636" y="92748"/>
                  </a:lnTo>
                  <a:close/>
                </a:path>
                <a:path w="353695" h="383540">
                  <a:moveTo>
                    <a:pt x="353288" y="327723"/>
                  </a:moveTo>
                  <a:lnTo>
                    <a:pt x="336867" y="286372"/>
                  </a:lnTo>
                  <a:lnTo>
                    <a:pt x="301536" y="240347"/>
                  </a:lnTo>
                  <a:lnTo>
                    <a:pt x="250037" y="193344"/>
                  </a:lnTo>
                  <a:lnTo>
                    <a:pt x="248361" y="192024"/>
                  </a:lnTo>
                  <a:lnTo>
                    <a:pt x="245973" y="192163"/>
                  </a:lnTo>
                  <a:lnTo>
                    <a:pt x="242658" y="195465"/>
                  </a:lnTo>
                  <a:lnTo>
                    <a:pt x="242697" y="198183"/>
                  </a:lnTo>
                  <a:lnTo>
                    <a:pt x="244411" y="199809"/>
                  </a:lnTo>
                  <a:lnTo>
                    <a:pt x="279209" y="237680"/>
                  </a:lnTo>
                  <a:lnTo>
                    <a:pt x="302171" y="273494"/>
                  </a:lnTo>
                  <a:lnTo>
                    <a:pt x="311734" y="305168"/>
                  </a:lnTo>
                  <a:lnTo>
                    <a:pt x="306298" y="330593"/>
                  </a:lnTo>
                  <a:lnTo>
                    <a:pt x="282168" y="348018"/>
                  </a:lnTo>
                  <a:lnTo>
                    <a:pt x="242773" y="351790"/>
                  </a:lnTo>
                  <a:lnTo>
                    <a:pt x="191884" y="342620"/>
                  </a:lnTo>
                  <a:lnTo>
                    <a:pt x="133248" y="321221"/>
                  </a:lnTo>
                  <a:lnTo>
                    <a:pt x="68973" y="287299"/>
                  </a:lnTo>
                  <a:lnTo>
                    <a:pt x="66852" y="287553"/>
                  </a:lnTo>
                  <a:lnTo>
                    <a:pt x="63639" y="290753"/>
                  </a:lnTo>
                  <a:lnTo>
                    <a:pt x="63881" y="293827"/>
                  </a:lnTo>
                  <a:lnTo>
                    <a:pt x="121653" y="330149"/>
                  </a:lnTo>
                  <a:lnTo>
                    <a:pt x="174650" y="356235"/>
                  </a:lnTo>
                  <a:lnTo>
                    <a:pt x="223532" y="373722"/>
                  </a:lnTo>
                  <a:lnTo>
                    <a:pt x="266788" y="382765"/>
                  </a:lnTo>
                  <a:lnTo>
                    <a:pt x="302958" y="383514"/>
                  </a:lnTo>
                  <a:lnTo>
                    <a:pt x="330542" y="376097"/>
                  </a:lnTo>
                  <a:lnTo>
                    <a:pt x="348030" y="360680"/>
                  </a:lnTo>
                  <a:lnTo>
                    <a:pt x="353288" y="327723"/>
                  </a:lnTo>
                  <a:close/>
                </a:path>
              </a:pathLst>
            </a:custGeom>
            <a:solidFill>
              <a:srgbClr val="00001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86" name="object 86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29924" y="3170389"/>
            <a:ext cx="2477338" cy="2055355"/>
          </a:xfrm>
          <a:prstGeom prst="roundRect">
            <a:avLst>
              <a:gd name="adj" fmla="val 6825"/>
            </a:avLst>
          </a:prstGeom>
        </p:spPr>
      </p:pic>
      <p:sp>
        <p:nvSpPr>
          <p:cNvPr id="206" name="object 206"/>
          <p:cNvSpPr/>
          <p:nvPr/>
        </p:nvSpPr>
        <p:spPr>
          <a:xfrm>
            <a:off x="467403" y="8629712"/>
            <a:ext cx="3725545" cy="0"/>
          </a:xfrm>
          <a:custGeom>
            <a:avLst/>
            <a:gdLst/>
            <a:ahLst/>
            <a:cxnLst/>
            <a:rect l="l" t="t" r="r" b="b"/>
            <a:pathLst>
              <a:path w="3725545">
                <a:moveTo>
                  <a:pt x="0" y="0"/>
                </a:moveTo>
                <a:lnTo>
                  <a:pt x="3725113" y="0"/>
                </a:lnTo>
              </a:path>
            </a:pathLst>
          </a:custGeom>
          <a:ln w="9525">
            <a:solidFill>
              <a:srgbClr val="1E7DE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FE6A0883-3B83-A9CA-4086-4833D69E299D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67403" y="8944293"/>
            <a:ext cx="648970" cy="648970"/>
          </a:xfrm>
          <a:prstGeom prst="rect">
            <a:avLst/>
          </a:prstGeom>
        </p:spPr>
      </p:pic>
      <p:sp>
        <p:nvSpPr>
          <p:cNvPr id="216" name="object 216"/>
          <p:cNvSpPr txBox="1"/>
          <p:nvPr/>
        </p:nvSpPr>
        <p:spPr>
          <a:xfrm>
            <a:off x="1519612" y="8915400"/>
            <a:ext cx="2673335" cy="619913"/>
          </a:xfrm>
          <a:prstGeom prst="rect">
            <a:avLst/>
          </a:prstGeom>
        </p:spPr>
        <p:txBody>
          <a:bodyPr vert="horz" wrap="square" lIns="108000" tIns="7620" rIns="0" bIns="0" rtlCol="0">
            <a:spAutoFit/>
          </a:bodyPr>
          <a:lstStyle/>
          <a:p>
            <a:pPr marL="12700" marR="610870">
              <a:lnSpc>
                <a:spcPct val="102600"/>
              </a:lnSpc>
              <a:spcBef>
                <a:spcPts val="60"/>
              </a:spcBef>
            </a:pPr>
            <a:r>
              <a:rPr sz="1300" dirty="0">
                <a:solidFill>
                  <a:schemeClr val="accent2"/>
                </a:solidFill>
                <a:latin typeface="Alliance No.2"/>
                <a:cs typeface="Alliance No.2"/>
              </a:rPr>
              <a:t>For</a:t>
            </a:r>
            <a:r>
              <a:rPr sz="1300" spc="-30" dirty="0">
                <a:solidFill>
                  <a:schemeClr val="accent2"/>
                </a:solidFill>
                <a:latin typeface="Alliance No.2"/>
                <a:cs typeface="Alliance No.2"/>
              </a:rPr>
              <a:t> </a:t>
            </a:r>
            <a:r>
              <a:rPr sz="1300" dirty="0">
                <a:solidFill>
                  <a:schemeClr val="accent2"/>
                </a:solidFill>
                <a:latin typeface="Alliance No.2"/>
                <a:cs typeface="Alliance No.2"/>
              </a:rPr>
              <a:t>more</a:t>
            </a:r>
            <a:r>
              <a:rPr sz="1300" spc="-25" dirty="0">
                <a:solidFill>
                  <a:schemeClr val="accent2"/>
                </a:solidFill>
                <a:latin typeface="Alliance No.2"/>
                <a:cs typeface="Alliance No.2"/>
              </a:rPr>
              <a:t> </a:t>
            </a:r>
            <a:r>
              <a:rPr sz="1300" spc="-10" dirty="0">
                <a:solidFill>
                  <a:schemeClr val="accent2"/>
                </a:solidFill>
                <a:latin typeface="Alliance No.2"/>
                <a:cs typeface="Alliance No.2"/>
              </a:rPr>
              <a:t>information </a:t>
            </a:r>
            <a:r>
              <a:rPr sz="1300" dirty="0">
                <a:solidFill>
                  <a:schemeClr val="accent2"/>
                </a:solidFill>
                <a:latin typeface="Alliance No.2"/>
                <a:cs typeface="Alliance No.2"/>
              </a:rPr>
              <a:t>please,</a:t>
            </a:r>
            <a:r>
              <a:rPr sz="1300" spc="-15" dirty="0">
                <a:solidFill>
                  <a:schemeClr val="accent2"/>
                </a:solidFill>
                <a:latin typeface="Alliance No.2"/>
                <a:cs typeface="Alliance No.2"/>
              </a:rPr>
              <a:t> </a:t>
            </a:r>
            <a:r>
              <a:rPr sz="1300" dirty="0">
                <a:solidFill>
                  <a:schemeClr val="accent2"/>
                </a:solidFill>
                <a:latin typeface="Alliance No.2"/>
                <a:cs typeface="Alliance No.2"/>
              </a:rPr>
              <a:t>register</a:t>
            </a:r>
            <a:r>
              <a:rPr sz="1300" spc="-15" dirty="0">
                <a:solidFill>
                  <a:schemeClr val="accent2"/>
                </a:solidFill>
                <a:latin typeface="Alliance No.2"/>
                <a:cs typeface="Alliance No.2"/>
              </a:rPr>
              <a:t> </a:t>
            </a:r>
            <a:r>
              <a:rPr sz="1300" spc="-25" dirty="0">
                <a:solidFill>
                  <a:schemeClr val="accent2"/>
                </a:solidFill>
                <a:latin typeface="Alliance No.2"/>
                <a:cs typeface="Alliance No.2"/>
              </a:rPr>
              <a:t>at:</a:t>
            </a:r>
            <a:endParaRPr sz="1300" dirty="0">
              <a:solidFill>
                <a:schemeClr val="accent2"/>
              </a:solidFill>
              <a:latin typeface="Alliance No.2"/>
              <a:cs typeface="Alliance No.2"/>
            </a:endParaRPr>
          </a:p>
          <a:p>
            <a:pPr marL="12700">
              <a:lnSpc>
                <a:spcPct val="100000"/>
              </a:lnSpc>
              <a:spcBef>
                <a:spcPts val="40"/>
              </a:spcBef>
            </a:pPr>
            <a:r>
              <a:rPr sz="1300" b="1" u="sng" spc="-10" dirty="0">
                <a:solidFill>
                  <a:schemeClr val="accent2"/>
                </a:solidFill>
                <a:uFill>
                  <a:solidFill>
                    <a:srgbClr val="1E7DED"/>
                  </a:solidFill>
                </a:uFill>
                <a:latin typeface="Alliance No.2"/>
                <a:cs typeface="Alliance No.2"/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ohnsmith@spacecenter.org</a:t>
            </a:r>
            <a:endParaRPr sz="1300" dirty="0">
              <a:solidFill>
                <a:schemeClr val="accent2"/>
              </a:solidFill>
              <a:latin typeface="Alliance No.2"/>
              <a:cs typeface="Alliance No.2"/>
            </a:endParaRPr>
          </a:p>
        </p:txBody>
      </p:sp>
      <p:pic>
        <p:nvPicPr>
          <p:cNvPr id="217" name="object 217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29924" y="5353276"/>
            <a:ext cx="2477338" cy="2055342"/>
          </a:xfrm>
          <a:prstGeom prst="roundRect">
            <a:avLst>
              <a:gd name="adj" fmla="val 6825"/>
            </a:avLst>
          </a:prstGeom>
        </p:spPr>
      </p:pic>
      <p:pic>
        <p:nvPicPr>
          <p:cNvPr id="218" name="object 218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28970" y="7536151"/>
            <a:ext cx="2478292" cy="2056146"/>
          </a:xfrm>
          <a:prstGeom prst="roundRect">
            <a:avLst>
              <a:gd name="adj" fmla="val 6822"/>
            </a:avLst>
          </a:prstGeom>
        </p:spPr>
      </p:pic>
      <p:sp>
        <p:nvSpPr>
          <p:cNvPr id="249" name="object 12">
            <a:extLst>
              <a:ext uri="{FF2B5EF4-FFF2-40B4-BE49-F238E27FC236}">
                <a16:creationId xmlns:a16="http://schemas.microsoft.com/office/drawing/2014/main" id="{794BBC6F-4B14-9464-2E9C-829E34FC9A25}"/>
              </a:ext>
            </a:extLst>
          </p:cNvPr>
          <p:cNvSpPr txBox="1"/>
          <p:nvPr/>
        </p:nvSpPr>
        <p:spPr>
          <a:xfrm>
            <a:off x="467403" y="4597399"/>
            <a:ext cx="3938131" cy="3766625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 algn="l">
              <a:lnSpc>
                <a:spcPct val="103000"/>
              </a:lnSpc>
              <a:spcAft>
                <a:spcPts val="800"/>
              </a:spcAft>
            </a:pPr>
            <a:r>
              <a:rPr spc="9" dirty="0">
                <a:solidFill>
                  <a:schemeClr val="tx2"/>
                </a:solidFill>
                <a:latin typeface="Alliance No.2"/>
                <a:cs typeface="Alliance No.2"/>
              </a:rPr>
              <a:t>Lorem ipsum dolor sit </a:t>
            </a:r>
            <a:r>
              <a:rPr spc="9" dirty="0" err="1">
                <a:solidFill>
                  <a:schemeClr val="tx2"/>
                </a:solidFill>
                <a:latin typeface="Alliance No.2"/>
                <a:cs typeface="Alliance No.2"/>
              </a:rPr>
              <a:t>amet</a:t>
            </a:r>
            <a:r>
              <a:rPr lang="en-GB" spc="9" dirty="0">
                <a:solidFill>
                  <a:schemeClr val="tx2"/>
                </a:solidFill>
                <a:latin typeface="Alliance No.2"/>
                <a:cs typeface="Alliance No.2"/>
              </a:rPr>
              <a:t>, </a:t>
            </a:r>
            <a:r>
              <a:rPr lang="en-GB" spc="9" dirty="0" err="1">
                <a:solidFill>
                  <a:schemeClr val="tx2"/>
                </a:solidFill>
                <a:latin typeface="Alliance No.2"/>
                <a:cs typeface="Alliance No.2"/>
              </a:rPr>
              <a:t>consectetuer</a:t>
            </a:r>
            <a:r>
              <a:rPr lang="en-GB" spc="9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lang="en-GB" spc="9" dirty="0" err="1">
                <a:solidFill>
                  <a:schemeClr val="tx2"/>
                </a:solidFill>
                <a:latin typeface="Alliance No.2"/>
                <a:cs typeface="Alliance No.2"/>
              </a:rPr>
              <a:t>adipiscing</a:t>
            </a:r>
            <a:r>
              <a:rPr lang="en-GB" spc="9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lang="en-GB" spc="9" dirty="0" err="1">
                <a:solidFill>
                  <a:schemeClr val="tx2"/>
                </a:solidFill>
                <a:latin typeface="Alliance No.2"/>
                <a:cs typeface="Alliance No.2"/>
              </a:rPr>
              <a:t>elit</a:t>
            </a:r>
            <a:r>
              <a:rPr lang="en-GB" spc="9" dirty="0">
                <a:solidFill>
                  <a:schemeClr val="tx2"/>
                </a:solidFill>
                <a:latin typeface="Alliance No.2"/>
                <a:cs typeface="Alliance No.2"/>
              </a:rPr>
              <a:t>. Maecenas </a:t>
            </a:r>
            <a:r>
              <a:rPr lang="en-GB" spc="9" dirty="0" err="1">
                <a:solidFill>
                  <a:schemeClr val="tx2"/>
                </a:solidFill>
                <a:latin typeface="Alliance No.2"/>
                <a:cs typeface="Alliance No.2"/>
              </a:rPr>
              <a:t>porttitor</a:t>
            </a:r>
            <a:r>
              <a:rPr lang="en-GB" spc="9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lang="en-GB" spc="9" dirty="0" err="1">
                <a:solidFill>
                  <a:schemeClr val="tx2"/>
                </a:solidFill>
                <a:latin typeface="Alliance No.2"/>
                <a:cs typeface="Alliance No.2"/>
              </a:rPr>
              <a:t>congue</a:t>
            </a:r>
            <a:r>
              <a:rPr lang="en-GB" spc="9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lang="en-GB" spc="9" dirty="0" err="1">
                <a:solidFill>
                  <a:schemeClr val="tx2"/>
                </a:solidFill>
                <a:latin typeface="Alliance No.2"/>
                <a:cs typeface="Alliance No.2"/>
              </a:rPr>
              <a:t>massa</a:t>
            </a:r>
            <a:r>
              <a:rPr lang="en-GB" spc="9" dirty="0">
                <a:solidFill>
                  <a:schemeClr val="tx2"/>
                </a:solidFill>
                <a:latin typeface="Alliance No.2"/>
                <a:cs typeface="Alliance No.2"/>
              </a:rPr>
              <a:t>. </a:t>
            </a:r>
            <a:r>
              <a:rPr lang="en-GB" spc="9" dirty="0" err="1">
                <a:solidFill>
                  <a:schemeClr val="tx2"/>
                </a:solidFill>
                <a:latin typeface="Alliance No.2"/>
                <a:cs typeface="Alliance No.2"/>
              </a:rPr>
              <a:t>Fusce</a:t>
            </a:r>
            <a:r>
              <a:rPr lang="en-GB" spc="9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lang="en-GB" spc="9" dirty="0" err="1">
                <a:solidFill>
                  <a:schemeClr val="tx2"/>
                </a:solidFill>
                <a:latin typeface="Alliance No.2"/>
                <a:cs typeface="Alliance No.2"/>
              </a:rPr>
              <a:t>posuere</a:t>
            </a:r>
            <a:r>
              <a:rPr lang="en-GB" spc="9" dirty="0">
                <a:solidFill>
                  <a:schemeClr val="tx2"/>
                </a:solidFill>
                <a:latin typeface="Alliance No.2"/>
                <a:cs typeface="Alliance No.2"/>
              </a:rPr>
              <a:t>, magna </a:t>
            </a:r>
            <a:r>
              <a:rPr lang="en-GB" spc="9" dirty="0" err="1">
                <a:solidFill>
                  <a:schemeClr val="tx2"/>
                </a:solidFill>
                <a:latin typeface="Alliance No.2"/>
                <a:cs typeface="Alliance No.2"/>
              </a:rPr>
              <a:t>sed</a:t>
            </a:r>
            <a:r>
              <a:rPr lang="en-GB" spc="9" dirty="0">
                <a:solidFill>
                  <a:schemeClr val="tx2"/>
                </a:solidFill>
                <a:latin typeface="Alliance No.2"/>
                <a:cs typeface="Alliance No.2"/>
              </a:rPr>
              <a:t> pulvinar </a:t>
            </a:r>
            <a:r>
              <a:rPr lang="en-GB" spc="9" dirty="0" err="1">
                <a:solidFill>
                  <a:schemeClr val="tx2"/>
                </a:solidFill>
                <a:latin typeface="Alliance No.2"/>
                <a:cs typeface="Alliance No.2"/>
              </a:rPr>
              <a:t>ultricies</a:t>
            </a:r>
            <a:r>
              <a:rPr lang="en-GB" spc="9" dirty="0">
                <a:solidFill>
                  <a:schemeClr val="tx2"/>
                </a:solidFill>
                <a:latin typeface="Alliance No.2"/>
                <a:cs typeface="Alliance No.2"/>
              </a:rPr>
              <a:t>. Maecenas </a:t>
            </a:r>
            <a:r>
              <a:rPr lang="en-GB" spc="9" dirty="0" err="1">
                <a:solidFill>
                  <a:schemeClr val="tx2"/>
                </a:solidFill>
                <a:latin typeface="Alliance No.2"/>
                <a:cs typeface="Alliance No.2"/>
              </a:rPr>
              <a:t>porttitor</a:t>
            </a:r>
            <a:r>
              <a:rPr lang="en-GB" spc="9" dirty="0">
                <a:solidFill>
                  <a:schemeClr val="tx2"/>
                </a:solidFill>
                <a:latin typeface="Alliance No.2"/>
                <a:cs typeface="Alliance No.2"/>
              </a:rPr>
              <a:t>.</a:t>
            </a:r>
          </a:p>
          <a:p>
            <a:pPr marL="177800" marR="0" lvl="0" indent="-168275" defTabSz="914400" eaLnBrk="1" fontAlgn="auto" latinLnBrk="0" hangingPunct="1">
              <a:lnSpc>
                <a:spcPct val="20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49213" algn="l"/>
              </a:tabLst>
              <a:defRPr/>
            </a:pPr>
            <a:r>
              <a:rPr kumimoji="0" lang="en-GB" sz="12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Lorem ipsum </a:t>
            </a:r>
            <a:r>
              <a:rPr kumimoji="0" lang="en-GB" sz="120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dolor</a:t>
            </a:r>
            <a:r>
              <a:rPr kumimoji="0" lang="en-GB" sz="12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 sit </a:t>
            </a:r>
            <a:r>
              <a:rPr kumimoji="0" lang="en-GB" sz="120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amet</a:t>
            </a:r>
            <a:r>
              <a:rPr kumimoji="0" lang="en-GB" sz="12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, </a:t>
            </a:r>
            <a:r>
              <a:rPr kumimoji="0" lang="en-GB" sz="120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consectetuer</a:t>
            </a:r>
            <a:r>
              <a:rPr kumimoji="0" lang="en-GB" sz="12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 </a:t>
            </a:r>
            <a:r>
              <a:rPr kumimoji="0" lang="en-GB" sz="120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elit</a:t>
            </a:r>
            <a:endParaRPr kumimoji="0" lang="en-GB" sz="1200" b="0" i="0" u="none" strike="noStrike" kern="0" cap="none" spc="1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lliance No.2"/>
              <a:cs typeface="Alliance No.2"/>
            </a:endParaRPr>
          </a:p>
          <a:p>
            <a:pPr marL="177800" marR="0" lvl="0" indent="-168275" defTabSz="914400" eaLnBrk="1" fontAlgn="auto" latinLnBrk="0" hangingPunct="1">
              <a:lnSpc>
                <a:spcPct val="20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49213" algn="l"/>
              </a:tabLst>
              <a:defRPr/>
            </a:pPr>
            <a:r>
              <a:rPr kumimoji="0" lang="en-GB" sz="12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Lorem ipsum </a:t>
            </a:r>
            <a:r>
              <a:rPr kumimoji="0" lang="en-GB" sz="120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dolor</a:t>
            </a:r>
            <a:r>
              <a:rPr kumimoji="0" lang="en-GB" sz="12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 sit </a:t>
            </a:r>
            <a:r>
              <a:rPr kumimoji="0" lang="en-GB" sz="120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amet</a:t>
            </a:r>
            <a:r>
              <a:rPr kumimoji="0" lang="en-GB" sz="12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, </a:t>
            </a:r>
            <a:r>
              <a:rPr kumimoji="0" lang="en-GB" sz="120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consectetuer</a:t>
            </a:r>
            <a:r>
              <a:rPr kumimoji="0" lang="en-GB" sz="12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 </a:t>
            </a:r>
            <a:r>
              <a:rPr kumimoji="0" lang="en-GB" sz="120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elit</a:t>
            </a:r>
            <a:endParaRPr kumimoji="0" lang="en-GB" sz="1200" b="0" i="0" u="none" strike="noStrike" kern="0" cap="none" spc="1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lliance No.2"/>
              <a:cs typeface="Alliance No.2"/>
            </a:endParaRPr>
          </a:p>
          <a:p>
            <a:pPr marL="177800" marR="0" lvl="0" indent="-168275" defTabSz="914400" eaLnBrk="1" fontAlgn="auto" latinLnBrk="0" hangingPunct="1">
              <a:lnSpc>
                <a:spcPct val="20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49213" algn="l"/>
              </a:tabLst>
              <a:defRPr/>
            </a:pPr>
            <a:r>
              <a:rPr kumimoji="0" lang="en-GB" sz="12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Lorem ipsum </a:t>
            </a:r>
            <a:r>
              <a:rPr kumimoji="0" lang="en-GB" sz="120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dolor</a:t>
            </a:r>
            <a:r>
              <a:rPr kumimoji="0" lang="en-GB" sz="12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 sit </a:t>
            </a:r>
            <a:r>
              <a:rPr kumimoji="0" lang="en-GB" sz="120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amet</a:t>
            </a:r>
            <a:r>
              <a:rPr kumimoji="0" lang="en-GB" sz="12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, </a:t>
            </a:r>
            <a:r>
              <a:rPr kumimoji="0" lang="en-GB" sz="120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consectetuer</a:t>
            </a:r>
            <a:r>
              <a:rPr kumimoji="0" lang="en-GB" sz="12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 </a:t>
            </a:r>
            <a:r>
              <a:rPr kumimoji="0" lang="en-GB" sz="120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elit</a:t>
            </a:r>
            <a:endParaRPr kumimoji="0" lang="en-GB" sz="1200" strike="noStrike" kern="0" cap="none" spc="1" normalizeH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lliance No.2"/>
              <a:cs typeface="Alliance No.2"/>
            </a:endParaRPr>
          </a:p>
          <a:p>
            <a:pPr marL="177800" marR="0" lvl="0" indent="-168275" defTabSz="914400" eaLnBrk="1" fontAlgn="auto" latinLnBrk="0" hangingPunct="1">
              <a:lnSpc>
                <a:spcPct val="116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Tx/>
              <a:buNone/>
              <a:tabLst>
                <a:tab pos="49213" algn="l"/>
              </a:tabLst>
              <a:defRPr/>
            </a:pPr>
            <a:r>
              <a:rPr kumimoji="0" lang="da-DK" sz="1200" b="1" strike="noStrike" kern="0" cap="none" spc="1" normalizeH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Lorem ipsum dolor sit amet</a:t>
            </a:r>
          </a:p>
          <a:p>
            <a:pPr marR="0" lvl="0" indent="0" defTabSz="914400" eaLnBrk="1" fontAlgn="auto" latinLnBrk="0" hangingPunct="1">
              <a:lnSpc>
                <a:spcPct val="116000"/>
              </a:lnSpc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Lorem ipsum </a:t>
            </a:r>
            <a:r>
              <a:rPr kumimoji="0" lang="en-GB" sz="120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dolor</a:t>
            </a:r>
            <a:r>
              <a:rPr kumimoji="0" lang="en-GB" sz="12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 sit </a:t>
            </a:r>
            <a:r>
              <a:rPr kumimoji="0" lang="en-GB" sz="120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amet</a:t>
            </a:r>
            <a:r>
              <a:rPr kumimoji="0" lang="en-GB" sz="12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, </a:t>
            </a:r>
            <a:r>
              <a:rPr kumimoji="0" lang="en-GB" sz="120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consectetuer</a:t>
            </a:r>
            <a:r>
              <a:rPr kumimoji="0" lang="en-GB" sz="12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 </a:t>
            </a:r>
            <a:r>
              <a:rPr kumimoji="0" lang="en-GB" sz="120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adipiscing</a:t>
            </a:r>
            <a:r>
              <a:rPr kumimoji="0" lang="en-GB" sz="12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 </a:t>
            </a:r>
            <a:r>
              <a:rPr kumimoji="0" lang="en-GB" sz="120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elit</a:t>
            </a:r>
            <a:r>
              <a:rPr kumimoji="0" lang="en-GB" sz="12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, </a:t>
            </a:r>
            <a:r>
              <a:rPr kumimoji="0" lang="en-GB" sz="120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nonummy</a:t>
            </a:r>
            <a:r>
              <a:rPr kumimoji="0" lang="en-GB" sz="12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 </a:t>
            </a:r>
            <a:r>
              <a:rPr kumimoji="0" lang="en-GB" sz="120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nibh</a:t>
            </a:r>
            <a:r>
              <a:rPr kumimoji="0" lang="en-GB" sz="12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 </a:t>
            </a:r>
            <a:r>
              <a:rPr kumimoji="0" lang="en-GB" sz="120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euismod</a:t>
            </a:r>
            <a:r>
              <a:rPr kumimoji="0" lang="en-GB" sz="12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 </a:t>
            </a:r>
            <a:r>
              <a:rPr kumimoji="0" lang="en-GB" sz="120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tincidunt</a:t>
            </a:r>
            <a:r>
              <a:rPr kumimoji="0" lang="en-GB" sz="12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 </a:t>
            </a:r>
            <a:r>
              <a:rPr kumimoji="0" lang="en-GB" sz="120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ut</a:t>
            </a:r>
            <a:r>
              <a:rPr kumimoji="0" lang="en-GB" sz="12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 </a:t>
            </a:r>
            <a:r>
              <a:rPr kumimoji="0" lang="en-GB" sz="120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laoreet</a:t>
            </a:r>
            <a:r>
              <a:rPr kumimoji="0" lang="en-GB" sz="12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.  </a:t>
            </a:r>
            <a:endParaRPr lang="en-GB" spc="9" dirty="0">
              <a:solidFill>
                <a:schemeClr val="tx2"/>
              </a:solidFill>
              <a:latin typeface="Alliance No.2"/>
              <a:cs typeface="Alliance No.2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CD99E3C-A434-E870-B0C0-DE24AD04630C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378880" y="8939213"/>
            <a:ext cx="176169" cy="155443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0"/>
            <a:ext cx="7772400" cy="5137150"/>
          </a:xfrm>
          <a:custGeom>
            <a:avLst/>
            <a:gdLst/>
            <a:ahLst/>
            <a:cxnLst/>
            <a:rect l="l" t="t" r="r" b="b"/>
            <a:pathLst>
              <a:path w="7772400" h="5113655">
                <a:moveTo>
                  <a:pt x="7772400" y="0"/>
                </a:moveTo>
                <a:lnTo>
                  <a:pt x="0" y="0"/>
                </a:lnTo>
                <a:lnTo>
                  <a:pt x="0" y="5113147"/>
                </a:lnTo>
                <a:lnTo>
                  <a:pt x="7772400" y="5113147"/>
                </a:lnTo>
                <a:lnTo>
                  <a:pt x="7772400" y="0"/>
                </a:lnTo>
                <a:close/>
              </a:path>
            </a:pathLst>
          </a:custGeom>
          <a:solidFill>
            <a:srgbClr val="DFEFF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>
            <a:spLocks noGrp="1"/>
          </p:cNvSpPr>
          <p:nvPr>
            <p:ph type="title" idx="4294967295"/>
          </p:nvPr>
        </p:nvSpPr>
        <p:spPr>
          <a:xfrm>
            <a:off x="478790" y="1661160"/>
            <a:ext cx="4076700" cy="3192925"/>
          </a:xfrm>
          <a:prstGeom prst="rect">
            <a:avLst/>
          </a:prstGeom>
        </p:spPr>
        <p:txBody>
          <a:bodyPr vert="horz" wrap="square" lIns="0" tIns="0" rIns="0" bIns="0" rtlCol="0" anchor="b">
            <a:normAutofit/>
          </a:bodyPr>
          <a:lstStyle/>
          <a:p>
            <a:pPr marR="9525">
              <a:lnSpc>
                <a:spcPct val="77857"/>
              </a:lnSpc>
              <a:spcBef>
                <a:spcPts val="2075"/>
              </a:spcBef>
            </a:pPr>
            <a:r>
              <a:rPr sz="6650" spc="-160" dirty="0">
                <a:solidFill>
                  <a:schemeClr val="accent2"/>
                </a:solidFill>
              </a:rPr>
              <a:t>Lorum </a:t>
            </a:r>
            <a:r>
              <a:rPr sz="6650" spc="-20" dirty="0">
                <a:solidFill>
                  <a:schemeClr val="accent2"/>
                </a:solidFill>
              </a:rPr>
              <a:t>Ipsum</a:t>
            </a:r>
            <a:r>
              <a:rPr lang="en-GB" sz="6650" spc="-20" dirty="0">
                <a:solidFill>
                  <a:schemeClr val="accent2"/>
                </a:solidFill>
              </a:rPr>
              <a:t> </a:t>
            </a:r>
            <a:r>
              <a:rPr lang="en-GB" sz="6650" spc="-20" dirty="0" err="1">
                <a:solidFill>
                  <a:schemeClr val="accent2"/>
                </a:solidFill>
              </a:rPr>
              <a:t>Dolor</a:t>
            </a:r>
            <a:r>
              <a:rPr lang="en-GB" sz="6650" spc="-20" dirty="0">
                <a:solidFill>
                  <a:schemeClr val="accent2"/>
                </a:solidFill>
              </a:rPr>
              <a:t> sit </a:t>
            </a:r>
            <a:r>
              <a:rPr lang="en-GB" sz="6650" spc="-20" dirty="0" err="1">
                <a:solidFill>
                  <a:schemeClr val="accent2"/>
                </a:solidFill>
              </a:rPr>
              <a:t>amet</a:t>
            </a:r>
            <a:endParaRPr sz="6650" dirty="0">
              <a:solidFill>
                <a:schemeClr val="accent2"/>
              </a:solidFill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2751080" y="4245936"/>
            <a:ext cx="2017769" cy="43053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ts val="1595"/>
              </a:lnSpc>
              <a:spcBef>
                <a:spcPts val="100"/>
              </a:spcBef>
            </a:pPr>
            <a:r>
              <a:rPr sz="1400" spc="-10" dirty="0">
                <a:solidFill>
                  <a:schemeClr val="tx2"/>
                </a:solidFill>
                <a:latin typeface="Alliance No.2"/>
                <a:cs typeface="Alliance No.2"/>
              </a:rPr>
              <a:t>05</a:t>
            </a:r>
            <a:r>
              <a:rPr lang="en-GB" sz="1400" spc="-10" dirty="0">
                <a:solidFill>
                  <a:schemeClr val="tx2"/>
                </a:solidFill>
                <a:latin typeface="Alliance No.2"/>
                <a:cs typeface="Alliance No.2"/>
              </a:rPr>
              <a:t>/</a:t>
            </a:r>
            <a:r>
              <a:rPr sz="1400" spc="-10" dirty="0">
                <a:solidFill>
                  <a:schemeClr val="tx2"/>
                </a:solidFill>
                <a:latin typeface="Alliance No.2"/>
                <a:cs typeface="Alliance No.2"/>
              </a:rPr>
              <a:t>16</a:t>
            </a:r>
            <a:endParaRPr sz="1400" dirty="0">
              <a:solidFill>
                <a:schemeClr val="tx2"/>
              </a:solidFill>
              <a:latin typeface="Alliance No.2"/>
              <a:cs typeface="Alliance No.2"/>
            </a:endParaRPr>
          </a:p>
          <a:p>
            <a:pPr marL="12700">
              <a:lnSpc>
                <a:spcPts val="1595"/>
              </a:lnSpc>
            </a:pPr>
            <a:r>
              <a:rPr sz="1400" dirty="0">
                <a:solidFill>
                  <a:schemeClr val="tx2"/>
                </a:solidFill>
                <a:latin typeface="Alliance No.2"/>
                <a:cs typeface="Alliance No.2"/>
              </a:rPr>
              <a:t>5:15-</a:t>
            </a:r>
            <a:r>
              <a:rPr sz="1400" spc="-10" dirty="0">
                <a:solidFill>
                  <a:schemeClr val="tx2"/>
                </a:solidFill>
                <a:latin typeface="Alliance No.2"/>
                <a:cs typeface="Alliance No.2"/>
              </a:rPr>
              <a:t>7:30p.m.</a:t>
            </a:r>
            <a:endParaRPr sz="1400" dirty="0">
              <a:solidFill>
                <a:schemeClr val="tx2"/>
              </a:solidFill>
              <a:latin typeface="Alliance No.2"/>
              <a:cs typeface="Alliance No.2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2763786" y="4079468"/>
            <a:ext cx="273685" cy="45085"/>
          </a:xfrm>
          <a:custGeom>
            <a:avLst/>
            <a:gdLst/>
            <a:ahLst/>
            <a:cxnLst/>
            <a:rect l="l" t="t" r="r" b="b"/>
            <a:pathLst>
              <a:path w="273685" h="45085">
                <a:moveTo>
                  <a:pt x="273100" y="0"/>
                </a:moveTo>
                <a:lnTo>
                  <a:pt x="0" y="0"/>
                </a:lnTo>
                <a:lnTo>
                  <a:pt x="0" y="45046"/>
                </a:lnTo>
                <a:lnTo>
                  <a:pt x="273100" y="45046"/>
                </a:lnTo>
                <a:lnTo>
                  <a:pt x="273100" y="0"/>
                </a:lnTo>
                <a:close/>
              </a:path>
            </a:pathLst>
          </a:custGeom>
          <a:solidFill>
            <a:srgbClr val="000013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9" name="object 9"/>
          <p:cNvPicPr/>
          <p:nvPr>
            <p:custDataLst>
              <p:tags r:id="rId2"/>
            </p:custDataLst>
          </p:nvPr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9450" y="0"/>
            <a:ext cx="3282949" cy="5140213"/>
          </a:xfrm>
          <a:prstGeom prst="rect">
            <a:avLst/>
          </a:prstGeom>
        </p:spPr>
      </p:pic>
      <p:pic>
        <p:nvPicPr>
          <p:cNvPr id="19" name="object 19"/>
          <p:cNvPicPr/>
          <p:nvPr>
            <p:custDataLst>
              <p:tags r:id="rId3"/>
            </p:custDataLst>
          </p:nvPr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0243" y="6925945"/>
            <a:ext cx="1183635" cy="1185773"/>
          </a:xfrm>
          <a:prstGeom prst="ellipse">
            <a:avLst/>
          </a:prstGeom>
        </p:spPr>
      </p:pic>
      <p:pic>
        <p:nvPicPr>
          <p:cNvPr id="20" name="object 20"/>
          <p:cNvPicPr/>
          <p:nvPr>
            <p:custDataLst>
              <p:tags r:id="rId4"/>
            </p:custDataLst>
          </p:nvPr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0243" y="5468668"/>
            <a:ext cx="1153045" cy="1316934"/>
          </a:xfrm>
          <a:prstGeom prst="rect">
            <a:avLst/>
          </a:prstGeom>
        </p:spPr>
      </p:pic>
      <p:pic>
        <p:nvPicPr>
          <p:cNvPr id="21" name="object 21"/>
          <p:cNvPicPr/>
          <p:nvPr>
            <p:custDataLst>
              <p:tags r:id="rId5"/>
            </p:custDataLst>
          </p:nvPr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0243" y="8252060"/>
            <a:ext cx="1185132" cy="1186170"/>
          </a:xfrm>
          <a:prstGeom prst="ellipse">
            <a:avLst/>
          </a:prstGeom>
        </p:spPr>
      </p:pic>
      <p:sp>
        <p:nvSpPr>
          <p:cNvPr id="22" name="object 22"/>
          <p:cNvSpPr/>
          <p:nvPr/>
        </p:nvSpPr>
        <p:spPr>
          <a:xfrm flipV="1">
            <a:off x="2068513" y="8327494"/>
            <a:ext cx="5249229" cy="45719"/>
          </a:xfrm>
          <a:custGeom>
            <a:avLst/>
            <a:gdLst/>
            <a:ahLst/>
            <a:cxnLst/>
            <a:rect l="l" t="t" r="r" b="b"/>
            <a:pathLst>
              <a:path w="5450205">
                <a:moveTo>
                  <a:pt x="0" y="0"/>
                </a:moveTo>
                <a:lnTo>
                  <a:pt x="5449849" y="0"/>
                </a:lnTo>
              </a:path>
            </a:pathLst>
          </a:custGeom>
          <a:ln w="9525">
            <a:solidFill>
              <a:srgbClr val="1E7DE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76F5CD21-DAB8-7CE3-07B2-530992BCA040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331269" y="8614094"/>
            <a:ext cx="975994" cy="975994"/>
          </a:xfrm>
          <a:prstGeom prst="rect">
            <a:avLst/>
          </a:prstGeom>
        </p:spPr>
      </p:pic>
      <p:sp>
        <p:nvSpPr>
          <p:cNvPr id="31" name="object 31"/>
          <p:cNvSpPr txBox="1"/>
          <p:nvPr/>
        </p:nvSpPr>
        <p:spPr>
          <a:xfrm>
            <a:off x="2941638" y="8614094"/>
            <a:ext cx="2818557" cy="412934"/>
          </a:xfrm>
          <a:prstGeom prst="rect">
            <a:avLst/>
          </a:prstGeom>
        </p:spPr>
        <p:txBody>
          <a:bodyPr vert="horz" wrap="square" lIns="10800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300" dirty="0">
                <a:solidFill>
                  <a:schemeClr val="accent2"/>
                </a:solidFill>
                <a:latin typeface="Alliance No.2"/>
                <a:cs typeface="Alliance No.2"/>
              </a:rPr>
              <a:t>For</a:t>
            </a:r>
            <a:r>
              <a:rPr sz="1300" spc="-20" dirty="0">
                <a:solidFill>
                  <a:schemeClr val="accent2"/>
                </a:solidFill>
                <a:latin typeface="Alliance No.2"/>
                <a:cs typeface="Alliance No.2"/>
              </a:rPr>
              <a:t> </a:t>
            </a:r>
            <a:r>
              <a:rPr sz="1300" dirty="0">
                <a:solidFill>
                  <a:schemeClr val="accent2"/>
                </a:solidFill>
                <a:latin typeface="Alliance No.2"/>
                <a:cs typeface="Alliance No.2"/>
              </a:rPr>
              <a:t>more</a:t>
            </a:r>
            <a:r>
              <a:rPr sz="1300" spc="-15" dirty="0">
                <a:solidFill>
                  <a:schemeClr val="accent2"/>
                </a:solidFill>
                <a:latin typeface="Alliance No.2"/>
                <a:cs typeface="Alliance No.2"/>
              </a:rPr>
              <a:t> </a:t>
            </a:r>
            <a:r>
              <a:rPr sz="1300" spc="-10" dirty="0">
                <a:solidFill>
                  <a:schemeClr val="accent2"/>
                </a:solidFill>
                <a:latin typeface="Alliance No.2"/>
                <a:cs typeface="Alliance No.2"/>
              </a:rPr>
              <a:t>information</a:t>
            </a:r>
            <a:r>
              <a:rPr sz="1300" spc="-20" dirty="0">
                <a:solidFill>
                  <a:schemeClr val="accent2"/>
                </a:solidFill>
                <a:latin typeface="Alliance No.2"/>
                <a:cs typeface="Alliance No.2"/>
              </a:rPr>
              <a:t> </a:t>
            </a:r>
            <a:r>
              <a:rPr sz="1300" dirty="0">
                <a:solidFill>
                  <a:schemeClr val="accent2"/>
                </a:solidFill>
                <a:latin typeface="Alliance No.2"/>
                <a:cs typeface="Alliance No.2"/>
              </a:rPr>
              <a:t>register</a:t>
            </a:r>
            <a:r>
              <a:rPr sz="1300" spc="-15" dirty="0">
                <a:solidFill>
                  <a:schemeClr val="accent2"/>
                </a:solidFill>
                <a:latin typeface="Alliance No.2"/>
                <a:cs typeface="Alliance No.2"/>
              </a:rPr>
              <a:t> </a:t>
            </a:r>
            <a:r>
              <a:rPr sz="1300" spc="-25" dirty="0">
                <a:solidFill>
                  <a:schemeClr val="accent2"/>
                </a:solidFill>
                <a:latin typeface="Alliance No.2"/>
                <a:cs typeface="Alliance No.2"/>
              </a:rPr>
              <a:t>at:</a:t>
            </a:r>
            <a:endParaRPr sz="1300" dirty="0">
              <a:solidFill>
                <a:schemeClr val="accent2"/>
              </a:solidFill>
              <a:latin typeface="Alliance No.2"/>
              <a:cs typeface="Alliance No.2"/>
            </a:endParaRPr>
          </a:p>
          <a:p>
            <a:pPr marL="12700">
              <a:lnSpc>
                <a:spcPct val="100000"/>
              </a:lnSpc>
              <a:spcBef>
                <a:spcPts val="40"/>
              </a:spcBef>
            </a:pPr>
            <a:r>
              <a:rPr sz="1300" b="1" u="sng" spc="-10" dirty="0">
                <a:solidFill>
                  <a:schemeClr val="accent2"/>
                </a:solidFill>
                <a:uFill>
                  <a:solidFill>
                    <a:srgbClr val="1E7DED"/>
                  </a:solidFill>
                </a:uFill>
                <a:latin typeface="Alliance No.2"/>
                <a:cs typeface="Alliance No.2"/>
                <a:hlinkClick r:id="rId1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ohnsmith@spacecenter.org</a:t>
            </a:r>
            <a:endParaRPr sz="1300" dirty="0">
              <a:solidFill>
                <a:schemeClr val="accent2"/>
              </a:solidFill>
              <a:latin typeface="Alliance No.2"/>
              <a:cs typeface="Alliance No.2"/>
            </a:endParaRP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B102A292-BBCB-37D3-6104-2C3EDCC86138}"/>
              </a:ext>
            </a:extLst>
          </p:cNvPr>
          <p:cNvGrpSpPr/>
          <p:nvPr/>
        </p:nvGrpSpPr>
        <p:grpSpPr>
          <a:xfrm>
            <a:off x="458587" y="450000"/>
            <a:ext cx="1237157" cy="548875"/>
            <a:chOff x="458587" y="458194"/>
            <a:chExt cx="1237157" cy="548875"/>
          </a:xfrm>
        </p:grpSpPr>
        <p:pic>
          <p:nvPicPr>
            <p:cNvPr id="38" name="object 208">
              <a:extLst>
                <a:ext uri="{FF2B5EF4-FFF2-40B4-BE49-F238E27FC236}">
                  <a16:creationId xmlns:a16="http://schemas.microsoft.com/office/drawing/2014/main" id="{51D33FC2-DC39-292E-8F3D-50D4B4C8FE8D}"/>
                </a:ext>
              </a:extLst>
            </p:cNvPr>
            <p:cNvPicPr/>
            <p:nvPr>
              <p:custDataLst>
                <p:tags r:id="rId7"/>
              </p:custDataLst>
            </p:nvPr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86090" y="477666"/>
              <a:ext cx="809654" cy="529403"/>
            </a:xfrm>
            <a:prstGeom prst="rect">
              <a:avLst/>
            </a:prstGeom>
          </p:spPr>
        </p:pic>
        <p:grpSp>
          <p:nvGrpSpPr>
            <p:cNvPr id="39" name="object 209">
              <a:extLst>
                <a:ext uri="{FF2B5EF4-FFF2-40B4-BE49-F238E27FC236}">
                  <a16:creationId xmlns:a16="http://schemas.microsoft.com/office/drawing/2014/main" id="{8AC9A8FA-ECF2-310A-B74E-595D1E23D763}"/>
                </a:ext>
              </a:extLst>
            </p:cNvPr>
            <p:cNvGrpSpPr/>
            <p:nvPr/>
          </p:nvGrpSpPr>
          <p:grpSpPr>
            <a:xfrm>
              <a:off x="458587" y="458194"/>
              <a:ext cx="353695" cy="383540"/>
              <a:chOff x="458587" y="458194"/>
              <a:chExt cx="353695" cy="383540"/>
            </a:xfrm>
          </p:grpSpPr>
          <p:pic>
            <p:nvPicPr>
              <p:cNvPr id="40" name="object 210">
                <a:extLst>
                  <a:ext uri="{FF2B5EF4-FFF2-40B4-BE49-F238E27FC236}">
                    <a16:creationId xmlns:a16="http://schemas.microsoft.com/office/drawing/2014/main" id="{37507318-96A9-092E-5957-44A2E3C52E90}"/>
                  </a:ext>
                </a:extLst>
              </p:cNvPr>
              <p:cNvPicPr/>
              <p:nvPr/>
            </p:nvPicPr>
            <p:blipFill>
              <a:blip r:embed="rId1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75741" y="590459"/>
                <a:ext cx="118986" cy="118986"/>
              </a:xfrm>
              <a:prstGeom prst="rect">
                <a:avLst/>
              </a:prstGeom>
            </p:spPr>
          </p:pic>
          <p:sp>
            <p:nvSpPr>
              <p:cNvPr id="41" name="object 211">
                <a:extLst>
                  <a:ext uri="{FF2B5EF4-FFF2-40B4-BE49-F238E27FC236}">
                    <a16:creationId xmlns:a16="http://schemas.microsoft.com/office/drawing/2014/main" id="{784B74EA-2789-A0E8-D4FD-28C30C323044}"/>
                  </a:ext>
                </a:extLst>
              </p:cNvPr>
              <p:cNvSpPr/>
              <p:nvPr/>
            </p:nvSpPr>
            <p:spPr>
              <a:xfrm>
                <a:off x="458584" y="458202"/>
                <a:ext cx="353695" cy="383540"/>
              </a:xfrm>
              <a:custGeom>
                <a:avLst/>
                <a:gdLst/>
                <a:ahLst/>
                <a:cxnLst/>
                <a:rect l="l" t="t" r="r" b="b"/>
                <a:pathLst>
                  <a:path w="353695" h="383540">
                    <a:moveTo>
                      <a:pt x="289636" y="92748"/>
                    </a:moveTo>
                    <a:lnTo>
                      <a:pt x="231648" y="53365"/>
                    </a:lnTo>
                    <a:lnTo>
                      <a:pt x="178638" y="27279"/>
                    </a:lnTo>
                    <a:lnTo>
                      <a:pt x="129768" y="9779"/>
                    </a:lnTo>
                    <a:lnTo>
                      <a:pt x="86499" y="736"/>
                    </a:lnTo>
                    <a:lnTo>
                      <a:pt x="50330" y="0"/>
                    </a:lnTo>
                    <a:lnTo>
                      <a:pt x="22745" y="7404"/>
                    </a:lnTo>
                    <a:lnTo>
                      <a:pt x="5245" y="22821"/>
                    </a:lnTo>
                    <a:lnTo>
                      <a:pt x="0" y="55778"/>
                    </a:lnTo>
                    <a:lnTo>
                      <a:pt x="16421" y="97129"/>
                    </a:lnTo>
                    <a:lnTo>
                      <a:pt x="51752" y="143167"/>
                    </a:lnTo>
                    <a:lnTo>
                      <a:pt x="103251" y="190169"/>
                    </a:lnTo>
                    <a:lnTo>
                      <a:pt x="104927" y="191477"/>
                    </a:lnTo>
                    <a:lnTo>
                      <a:pt x="107315" y="191350"/>
                    </a:lnTo>
                    <a:lnTo>
                      <a:pt x="108826" y="189839"/>
                    </a:lnTo>
                    <a:lnTo>
                      <a:pt x="110629" y="188036"/>
                    </a:lnTo>
                    <a:lnTo>
                      <a:pt x="110591" y="185331"/>
                    </a:lnTo>
                    <a:lnTo>
                      <a:pt x="108877" y="183692"/>
                    </a:lnTo>
                    <a:lnTo>
                      <a:pt x="74091" y="145821"/>
                    </a:lnTo>
                    <a:lnTo>
                      <a:pt x="51117" y="110007"/>
                    </a:lnTo>
                    <a:lnTo>
                      <a:pt x="41567" y="78333"/>
                    </a:lnTo>
                    <a:lnTo>
                      <a:pt x="46990" y="52908"/>
                    </a:lnTo>
                    <a:lnTo>
                      <a:pt x="71120" y="35483"/>
                    </a:lnTo>
                    <a:lnTo>
                      <a:pt x="110515" y="31724"/>
                    </a:lnTo>
                    <a:lnTo>
                      <a:pt x="161417" y="40894"/>
                    </a:lnTo>
                    <a:lnTo>
                      <a:pt x="220052" y="62293"/>
                    </a:lnTo>
                    <a:lnTo>
                      <a:pt x="284302" y="96202"/>
                    </a:lnTo>
                    <a:lnTo>
                      <a:pt x="286435" y="95961"/>
                    </a:lnTo>
                    <a:lnTo>
                      <a:pt x="289636" y="92748"/>
                    </a:lnTo>
                    <a:close/>
                  </a:path>
                  <a:path w="353695" h="383540">
                    <a:moveTo>
                      <a:pt x="353288" y="327723"/>
                    </a:moveTo>
                    <a:lnTo>
                      <a:pt x="336867" y="286372"/>
                    </a:lnTo>
                    <a:lnTo>
                      <a:pt x="301536" y="240347"/>
                    </a:lnTo>
                    <a:lnTo>
                      <a:pt x="250037" y="193344"/>
                    </a:lnTo>
                    <a:lnTo>
                      <a:pt x="248361" y="192024"/>
                    </a:lnTo>
                    <a:lnTo>
                      <a:pt x="245973" y="192163"/>
                    </a:lnTo>
                    <a:lnTo>
                      <a:pt x="242658" y="195465"/>
                    </a:lnTo>
                    <a:lnTo>
                      <a:pt x="242697" y="198183"/>
                    </a:lnTo>
                    <a:lnTo>
                      <a:pt x="244411" y="199809"/>
                    </a:lnTo>
                    <a:lnTo>
                      <a:pt x="279209" y="237680"/>
                    </a:lnTo>
                    <a:lnTo>
                      <a:pt x="302171" y="273494"/>
                    </a:lnTo>
                    <a:lnTo>
                      <a:pt x="311734" y="305168"/>
                    </a:lnTo>
                    <a:lnTo>
                      <a:pt x="306298" y="330593"/>
                    </a:lnTo>
                    <a:lnTo>
                      <a:pt x="282168" y="348018"/>
                    </a:lnTo>
                    <a:lnTo>
                      <a:pt x="242773" y="351790"/>
                    </a:lnTo>
                    <a:lnTo>
                      <a:pt x="191884" y="342620"/>
                    </a:lnTo>
                    <a:lnTo>
                      <a:pt x="133248" y="321221"/>
                    </a:lnTo>
                    <a:lnTo>
                      <a:pt x="68973" y="287299"/>
                    </a:lnTo>
                    <a:lnTo>
                      <a:pt x="66852" y="287553"/>
                    </a:lnTo>
                    <a:lnTo>
                      <a:pt x="63639" y="290753"/>
                    </a:lnTo>
                    <a:lnTo>
                      <a:pt x="63881" y="293827"/>
                    </a:lnTo>
                    <a:lnTo>
                      <a:pt x="121653" y="330149"/>
                    </a:lnTo>
                    <a:lnTo>
                      <a:pt x="174650" y="356235"/>
                    </a:lnTo>
                    <a:lnTo>
                      <a:pt x="223532" y="373722"/>
                    </a:lnTo>
                    <a:lnTo>
                      <a:pt x="266788" y="382765"/>
                    </a:lnTo>
                    <a:lnTo>
                      <a:pt x="302958" y="383501"/>
                    </a:lnTo>
                    <a:lnTo>
                      <a:pt x="330530" y="376097"/>
                    </a:lnTo>
                    <a:lnTo>
                      <a:pt x="348030" y="360680"/>
                    </a:lnTo>
                    <a:lnTo>
                      <a:pt x="353288" y="327723"/>
                    </a:lnTo>
                    <a:close/>
                  </a:path>
                </a:pathLst>
              </a:custGeom>
              <a:solidFill>
                <a:srgbClr val="000013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</p:grpSp>
      <p:graphicFrame>
        <p:nvGraphicFramePr>
          <p:cNvPr id="24" name="Table 24">
            <a:extLst>
              <a:ext uri="{FF2B5EF4-FFF2-40B4-BE49-F238E27FC236}">
                <a16:creationId xmlns:a16="http://schemas.microsoft.com/office/drawing/2014/main" id="{0F0A5A42-4253-5A7F-2AE8-18606120AC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8170683"/>
              </p:ext>
            </p:extLst>
          </p:nvPr>
        </p:nvGraphicFramePr>
        <p:xfrm>
          <a:off x="2068513" y="5475481"/>
          <a:ext cx="5249230" cy="2188938"/>
        </p:xfrm>
        <a:graphic>
          <a:graphicData uri="http://schemas.openxmlformats.org/drawingml/2006/table">
            <a:tbl>
              <a:tblPr>
                <a:tableStyleId>{1E171933-4619-4E11-9A3F-F7608DF75F80}</a:tableStyleId>
              </a:tblPr>
              <a:tblGrid>
                <a:gridCol w="903431">
                  <a:extLst>
                    <a:ext uri="{9D8B030D-6E8A-4147-A177-3AD203B41FA5}">
                      <a16:colId xmlns:a16="http://schemas.microsoft.com/office/drawing/2014/main" val="1103416078"/>
                    </a:ext>
                  </a:extLst>
                </a:gridCol>
                <a:gridCol w="4345799">
                  <a:extLst>
                    <a:ext uri="{9D8B030D-6E8A-4147-A177-3AD203B41FA5}">
                      <a16:colId xmlns:a16="http://schemas.microsoft.com/office/drawing/2014/main" val="4054101170"/>
                    </a:ext>
                  </a:extLst>
                </a:gridCol>
              </a:tblGrid>
              <a:tr h="475376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2"/>
                          </a:solidFill>
                        </a:rPr>
                        <a:t>5.15 pm</a:t>
                      </a:r>
                    </a:p>
                  </a:txBody>
                  <a:tcPr marL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da-DK" sz="1800" b="0" dirty="0">
                          <a:solidFill>
                            <a:schemeClr val="tx2"/>
                          </a:solidFill>
                          <a:latin typeface="Alliance No.2 Medium"/>
                          <a:cs typeface="Alliance No.2 Medium"/>
                        </a:rPr>
                        <a:t>Lorem</a:t>
                      </a:r>
                      <a:r>
                        <a:rPr lang="da-DK" sz="1800" b="0" spc="-15" dirty="0">
                          <a:solidFill>
                            <a:schemeClr val="tx2"/>
                          </a:solidFill>
                          <a:latin typeface="Alliance No.2 Medium"/>
                          <a:cs typeface="Alliance No.2 Medium"/>
                        </a:rPr>
                        <a:t> </a:t>
                      </a:r>
                      <a:r>
                        <a:rPr lang="da-DK" sz="1800" b="0" dirty="0">
                          <a:solidFill>
                            <a:schemeClr val="tx2"/>
                          </a:solidFill>
                          <a:latin typeface="Alliance No.2 Medium"/>
                          <a:cs typeface="Alliance No.2 Medium"/>
                        </a:rPr>
                        <a:t>ipsum</a:t>
                      </a:r>
                      <a:r>
                        <a:rPr lang="da-DK" sz="1800" b="0" spc="-15" dirty="0">
                          <a:solidFill>
                            <a:schemeClr val="tx2"/>
                          </a:solidFill>
                          <a:latin typeface="Alliance No.2 Medium"/>
                          <a:cs typeface="Alliance No.2 Medium"/>
                        </a:rPr>
                        <a:t> </a:t>
                      </a:r>
                      <a:r>
                        <a:rPr lang="da-DK" sz="1800" b="0" dirty="0">
                          <a:solidFill>
                            <a:schemeClr val="tx2"/>
                          </a:solidFill>
                          <a:latin typeface="Alliance No.2 Medium"/>
                          <a:cs typeface="Alliance No.2 Medium"/>
                        </a:rPr>
                        <a:t>dolor</a:t>
                      </a:r>
                      <a:r>
                        <a:rPr lang="da-DK" sz="1800" b="0" spc="-15" dirty="0">
                          <a:solidFill>
                            <a:schemeClr val="tx2"/>
                          </a:solidFill>
                          <a:latin typeface="Alliance No.2 Medium"/>
                          <a:cs typeface="Alliance No.2 Medium"/>
                        </a:rPr>
                        <a:t> </a:t>
                      </a:r>
                      <a:r>
                        <a:rPr lang="da-DK" sz="1800" b="0" dirty="0">
                          <a:solidFill>
                            <a:schemeClr val="tx2"/>
                          </a:solidFill>
                          <a:latin typeface="Alliance No.2 Medium"/>
                          <a:cs typeface="Alliance No.2 Medium"/>
                        </a:rPr>
                        <a:t>sit</a:t>
                      </a:r>
                      <a:r>
                        <a:rPr lang="da-DK" sz="1800" b="0" spc="-15" dirty="0">
                          <a:solidFill>
                            <a:schemeClr val="tx2"/>
                          </a:solidFill>
                          <a:latin typeface="Alliance No.2 Medium"/>
                          <a:cs typeface="Alliance No.2 Medium"/>
                        </a:rPr>
                        <a:t> </a:t>
                      </a:r>
                      <a:r>
                        <a:rPr lang="da-DK" sz="1800" b="0" spc="-20" dirty="0">
                          <a:solidFill>
                            <a:schemeClr val="tx2"/>
                          </a:solidFill>
                          <a:latin typeface="Alliance No.2 Medium"/>
                          <a:cs typeface="Alliance No.2 Medium"/>
                        </a:rPr>
                        <a:t>amet</a:t>
                      </a:r>
                      <a:endParaRPr lang="en-US" sz="1800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3964953"/>
                  </a:ext>
                </a:extLst>
              </a:tr>
              <a:tr h="610123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2"/>
                          </a:solidFill>
                        </a:rPr>
                        <a:t>5.45 pm</a:t>
                      </a:r>
                    </a:p>
                  </a:txBody>
                  <a:tcPr marL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2700">
                        <a:lnSpc>
                          <a:spcPts val="2235"/>
                        </a:lnSpc>
                        <a:spcBef>
                          <a:spcPts val="1200"/>
                        </a:spcBef>
                        <a:tabLst>
                          <a:tab pos="853440" algn="l"/>
                        </a:tabLst>
                      </a:pPr>
                      <a:r>
                        <a:rPr lang="en-US" sz="1800" b="0" dirty="0">
                          <a:solidFill>
                            <a:schemeClr val="tx2"/>
                          </a:solidFill>
                          <a:latin typeface="Alliance No.2 Medium"/>
                          <a:cs typeface="Alliance No.2 Medium"/>
                        </a:rPr>
                        <a:t>Lorem</a:t>
                      </a:r>
                      <a:r>
                        <a:rPr lang="en-US" sz="1800" b="0" spc="-15" dirty="0">
                          <a:solidFill>
                            <a:schemeClr val="tx2"/>
                          </a:solidFill>
                          <a:latin typeface="Alliance No.2 Medium"/>
                          <a:cs typeface="Alliance No.2 Medium"/>
                        </a:rPr>
                        <a:t> </a:t>
                      </a:r>
                      <a:r>
                        <a:rPr lang="en-US" sz="1800" b="0" dirty="0">
                          <a:solidFill>
                            <a:schemeClr val="tx2"/>
                          </a:solidFill>
                          <a:latin typeface="Alliance No.2 Medium"/>
                          <a:cs typeface="Alliance No.2 Medium"/>
                        </a:rPr>
                        <a:t>ipsum</a:t>
                      </a:r>
                      <a:r>
                        <a:rPr lang="en-US" sz="1800" b="0" spc="-15" dirty="0">
                          <a:solidFill>
                            <a:schemeClr val="tx2"/>
                          </a:solidFill>
                          <a:latin typeface="Alliance No.2 Medium"/>
                          <a:cs typeface="Alliance No.2 Medium"/>
                        </a:rPr>
                        <a:t> </a:t>
                      </a:r>
                      <a:r>
                        <a:rPr lang="en-US" sz="1800" b="0" dirty="0">
                          <a:solidFill>
                            <a:schemeClr val="tx2"/>
                          </a:solidFill>
                          <a:latin typeface="Alliance No.2 Medium"/>
                          <a:cs typeface="Alliance No.2 Medium"/>
                        </a:rPr>
                        <a:t>dolor</a:t>
                      </a:r>
                      <a:r>
                        <a:rPr lang="en-US" sz="1800" b="0" spc="-15" dirty="0">
                          <a:solidFill>
                            <a:schemeClr val="tx2"/>
                          </a:solidFill>
                          <a:latin typeface="Alliance No.2 Medium"/>
                          <a:cs typeface="Alliance No.2 Medium"/>
                        </a:rPr>
                        <a:t> </a:t>
                      </a:r>
                      <a:r>
                        <a:rPr lang="en-US" sz="1800" b="0" dirty="0">
                          <a:solidFill>
                            <a:schemeClr val="tx2"/>
                          </a:solidFill>
                          <a:latin typeface="Alliance No.2 Medium"/>
                          <a:cs typeface="Alliance No.2 Medium"/>
                        </a:rPr>
                        <a:t>sit</a:t>
                      </a:r>
                      <a:r>
                        <a:rPr lang="en-US" sz="1800" b="0" spc="-15" dirty="0">
                          <a:solidFill>
                            <a:schemeClr val="tx2"/>
                          </a:solidFill>
                          <a:latin typeface="Alliance No.2 Medium"/>
                          <a:cs typeface="Alliance No.2 Medium"/>
                        </a:rPr>
                        <a:t> </a:t>
                      </a:r>
                      <a:r>
                        <a:rPr lang="en-US" sz="1800" b="0" spc="-20" dirty="0" err="1">
                          <a:solidFill>
                            <a:schemeClr val="tx2"/>
                          </a:solidFill>
                          <a:latin typeface="Alliance No.2 Medium"/>
                          <a:cs typeface="Alliance No.2 Medium"/>
                        </a:rPr>
                        <a:t>amet</a:t>
                      </a:r>
                      <a:endParaRPr lang="en-US" sz="1800" b="0" spc="-20" dirty="0">
                        <a:solidFill>
                          <a:schemeClr val="tx2"/>
                        </a:solidFill>
                        <a:latin typeface="Alliance No.2 Medium"/>
                        <a:cs typeface="Alliance No.2 Medium"/>
                      </a:endParaRPr>
                    </a:p>
                    <a:p>
                      <a:pPr marL="12700">
                        <a:lnSpc>
                          <a:spcPct val="100000"/>
                        </a:lnSpc>
                        <a:spcBef>
                          <a:spcPts val="0"/>
                        </a:spcBef>
                        <a:tabLst>
                          <a:tab pos="853440" algn="l"/>
                        </a:tabLst>
                      </a:pPr>
                      <a:r>
                        <a:rPr lang="en-US" sz="1400" dirty="0">
                          <a:solidFill>
                            <a:schemeClr val="tx2"/>
                          </a:solidFill>
                          <a:latin typeface="+mn-lt"/>
                          <a:cs typeface="Alliance No.2"/>
                        </a:rPr>
                        <a:t>Scan</a:t>
                      </a:r>
                      <a:r>
                        <a:rPr lang="en-US" sz="1400" spc="-20" dirty="0">
                          <a:solidFill>
                            <a:schemeClr val="tx2"/>
                          </a:solidFill>
                          <a:latin typeface="+mn-lt"/>
                          <a:cs typeface="Alliance No.2"/>
                        </a:rPr>
                        <a:t> </a:t>
                      </a:r>
                      <a:r>
                        <a:rPr lang="en-US" sz="1400" dirty="0">
                          <a:solidFill>
                            <a:schemeClr val="tx2"/>
                          </a:solidFill>
                          <a:latin typeface="+mn-lt"/>
                          <a:cs typeface="Alliance No.2"/>
                        </a:rPr>
                        <a:t>QR</a:t>
                      </a:r>
                      <a:r>
                        <a:rPr lang="en-US" sz="1400" spc="-10" dirty="0">
                          <a:solidFill>
                            <a:schemeClr val="tx2"/>
                          </a:solidFill>
                          <a:latin typeface="+mn-lt"/>
                          <a:cs typeface="Alliance No.2"/>
                        </a:rPr>
                        <a:t> </a:t>
                      </a:r>
                      <a:r>
                        <a:rPr lang="en-US" sz="1400" dirty="0">
                          <a:solidFill>
                            <a:schemeClr val="tx2"/>
                          </a:solidFill>
                          <a:latin typeface="+mn-lt"/>
                          <a:cs typeface="Alliance No.2"/>
                        </a:rPr>
                        <a:t>code</a:t>
                      </a:r>
                      <a:r>
                        <a:rPr lang="en-US" sz="1400" spc="-10" dirty="0">
                          <a:solidFill>
                            <a:schemeClr val="tx2"/>
                          </a:solidFill>
                          <a:latin typeface="+mn-lt"/>
                          <a:cs typeface="Alliance No.2"/>
                        </a:rPr>
                        <a:t> </a:t>
                      </a:r>
                      <a:r>
                        <a:rPr lang="en-US" sz="1400" dirty="0">
                          <a:solidFill>
                            <a:schemeClr val="tx2"/>
                          </a:solidFill>
                          <a:latin typeface="+mn-lt"/>
                          <a:cs typeface="Alliance No.2"/>
                        </a:rPr>
                        <a:t>for</a:t>
                      </a:r>
                      <a:r>
                        <a:rPr lang="en-US" sz="1400" spc="-10" dirty="0">
                          <a:solidFill>
                            <a:schemeClr val="tx2"/>
                          </a:solidFill>
                          <a:latin typeface="+mn-lt"/>
                          <a:cs typeface="Alliance No.2"/>
                        </a:rPr>
                        <a:t> </a:t>
                      </a:r>
                      <a:r>
                        <a:rPr lang="en-US" sz="1400" dirty="0">
                          <a:solidFill>
                            <a:schemeClr val="tx2"/>
                          </a:solidFill>
                          <a:latin typeface="+mn-lt"/>
                          <a:cs typeface="Alliance No.2"/>
                        </a:rPr>
                        <a:t>more</a:t>
                      </a:r>
                      <a:r>
                        <a:rPr lang="en-US" sz="1400" spc="-5" dirty="0">
                          <a:solidFill>
                            <a:schemeClr val="tx2"/>
                          </a:solidFill>
                          <a:latin typeface="+mn-lt"/>
                          <a:cs typeface="Alliance No.2"/>
                        </a:rPr>
                        <a:t> </a:t>
                      </a:r>
                      <a:r>
                        <a:rPr lang="en-US" sz="1400" spc="-10" dirty="0">
                          <a:solidFill>
                            <a:schemeClr val="tx2"/>
                          </a:solidFill>
                          <a:latin typeface="+mn-lt"/>
                          <a:cs typeface="Alliance No.2"/>
                        </a:rPr>
                        <a:t>details</a:t>
                      </a:r>
                      <a:endParaRPr lang="en-US" sz="1400" dirty="0">
                        <a:solidFill>
                          <a:schemeClr val="tx2"/>
                        </a:solidFill>
                        <a:latin typeface="+mn-lt"/>
                        <a:cs typeface="Alliance No.2"/>
                      </a:endParaRPr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63877107"/>
                  </a:ext>
                </a:extLst>
              </a:tr>
              <a:tr h="463359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2"/>
                          </a:solidFill>
                        </a:rPr>
                        <a:t>6.15 pm</a:t>
                      </a:r>
                    </a:p>
                  </a:txBody>
                  <a:tcPr marL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800" b="0" dirty="0">
                          <a:solidFill>
                            <a:schemeClr val="tx2"/>
                          </a:solidFill>
                          <a:latin typeface="Alliance No.2 Medium"/>
                          <a:cs typeface="Alliance No.2 Medium"/>
                        </a:rPr>
                        <a:t>Lorem</a:t>
                      </a:r>
                      <a:r>
                        <a:rPr lang="da-DK" sz="1800" b="0" spc="-15" dirty="0">
                          <a:solidFill>
                            <a:schemeClr val="tx2"/>
                          </a:solidFill>
                          <a:latin typeface="Alliance No.2 Medium"/>
                          <a:cs typeface="Alliance No.2 Medium"/>
                        </a:rPr>
                        <a:t> </a:t>
                      </a:r>
                      <a:r>
                        <a:rPr lang="da-DK" sz="1800" b="0" dirty="0">
                          <a:solidFill>
                            <a:schemeClr val="tx2"/>
                          </a:solidFill>
                          <a:latin typeface="Alliance No.2 Medium"/>
                          <a:cs typeface="Alliance No.2 Medium"/>
                        </a:rPr>
                        <a:t>ipsum</a:t>
                      </a:r>
                      <a:r>
                        <a:rPr lang="da-DK" sz="1800" b="0" spc="-15" dirty="0">
                          <a:solidFill>
                            <a:schemeClr val="tx2"/>
                          </a:solidFill>
                          <a:latin typeface="Alliance No.2 Medium"/>
                          <a:cs typeface="Alliance No.2 Medium"/>
                        </a:rPr>
                        <a:t> </a:t>
                      </a:r>
                      <a:r>
                        <a:rPr lang="da-DK" sz="1800" b="0" dirty="0">
                          <a:solidFill>
                            <a:schemeClr val="tx2"/>
                          </a:solidFill>
                          <a:latin typeface="Alliance No.2 Medium"/>
                          <a:cs typeface="Alliance No.2 Medium"/>
                        </a:rPr>
                        <a:t>dolor</a:t>
                      </a:r>
                      <a:r>
                        <a:rPr lang="da-DK" sz="1800" b="0" spc="-15" dirty="0">
                          <a:solidFill>
                            <a:schemeClr val="tx2"/>
                          </a:solidFill>
                          <a:latin typeface="Alliance No.2 Medium"/>
                          <a:cs typeface="Alliance No.2 Medium"/>
                        </a:rPr>
                        <a:t> </a:t>
                      </a:r>
                      <a:r>
                        <a:rPr lang="da-DK" sz="1800" b="0" dirty="0">
                          <a:solidFill>
                            <a:schemeClr val="tx2"/>
                          </a:solidFill>
                          <a:latin typeface="Alliance No.2 Medium"/>
                          <a:cs typeface="Alliance No.2 Medium"/>
                        </a:rPr>
                        <a:t>sit</a:t>
                      </a:r>
                      <a:r>
                        <a:rPr lang="da-DK" sz="1800" b="0" spc="-15" dirty="0">
                          <a:solidFill>
                            <a:schemeClr val="tx2"/>
                          </a:solidFill>
                          <a:latin typeface="Alliance No.2 Medium"/>
                          <a:cs typeface="Alliance No.2 Medium"/>
                        </a:rPr>
                        <a:t> </a:t>
                      </a:r>
                      <a:r>
                        <a:rPr lang="da-DK" sz="1800" b="0" spc="-20" dirty="0">
                          <a:solidFill>
                            <a:schemeClr val="tx2"/>
                          </a:solidFill>
                          <a:latin typeface="Alliance No.2 Medium"/>
                          <a:cs typeface="Alliance No.2 Medium"/>
                        </a:rPr>
                        <a:t>amet</a:t>
                      </a:r>
                      <a:endParaRPr lang="en-US" sz="1800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55562930"/>
                  </a:ext>
                </a:extLst>
              </a:tr>
              <a:tr h="610123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2"/>
                          </a:solidFill>
                        </a:rPr>
                        <a:t>7.30 pm</a:t>
                      </a:r>
                    </a:p>
                  </a:txBody>
                  <a:tcPr marL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dirty="0">
                          <a:solidFill>
                            <a:schemeClr val="tx2"/>
                          </a:solidFill>
                          <a:latin typeface="Alliance No.2 Medium"/>
                          <a:cs typeface="Alliance No.2 Medium"/>
                        </a:rPr>
                        <a:t>Lorem</a:t>
                      </a:r>
                      <a:r>
                        <a:rPr lang="en-GB" sz="1800" b="0" spc="-15" dirty="0">
                          <a:solidFill>
                            <a:schemeClr val="tx2"/>
                          </a:solidFill>
                          <a:latin typeface="Alliance No.2 Medium"/>
                          <a:cs typeface="Alliance No.2 Medium"/>
                        </a:rPr>
                        <a:t> </a:t>
                      </a:r>
                      <a:r>
                        <a:rPr lang="en-GB" sz="1800" b="0" dirty="0">
                          <a:solidFill>
                            <a:schemeClr val="tx2"/>
                          </a:solidFill>
                          <a:latin typeface="Alliance No.2 Medium"/>
                          <a:cs typeface="Alliance No.2 Medium"/>
                        </a:rPr>
                        <a:t>ipsum</a:t>
                      </a:r>
                      <a:r>
                        <a:rPr lang="en-GB" sz="1800" b="0" spc="-15" dirty="0">
                          <a:solidFill>
                            <a:schemeClr val="tx2"/>
                          </a:solidFill>
                          <a:latin typeface="Alliance No.2 Medium"/>
                          <a:cs typeface="Alliance No.2 Medium"/>
                        </a:rPr>
                        <a:t> </a:t>
                      </a:r>
                      <a:r>
                        <a:rPr lang="en-GB" sz="1800" b="0" dirty="0" err="1">
                          <a:solidFill>
                            <a:schemeClr val="tx2"/>
                          </a:solidFill>
                          <a:latin typeface="Alliance No.2 Medium"/>
                          <a:cs typeface="Alliance No.2 Medium"/>
                        </a:rPr>
                        <a:t>dolor</a:t>
                      </a:r>
                      <a:r>
                        <a:rPr lang="en-GB" sz="1800" b="0" spc="-15" dirty="0">
                          <a:solidFill>
                            <a:schemeClr val="tx2"/>
                          </a:solidFill>
                          <a:latin typeface="Alliance No.2 Medium"/>
                          <a:cs typeface="Alliance No.2 Medium"/>
                        </a:rPr>
                        <a:t> </a:t>
                      </a:r>
                      <a:r>
                        <a:rPr lang="en-GB" sz="1800" b="0" dirty="0">
                          <a:solidFill>
                            <a:schemeClr val="tx2"/>
                          </a:solidFill>
                          <a:latin typeface="Alliance No.2 Medium"/>
                          <a:cs typeface="Alliance No.2 Medium"/>
                        </a:rPr>
                        <a:t>sit</a:t>
                      </a:r>
                      <a:r>
                        <a:rPr lang="en-GB" sz="1800" b="0" spc="-15" dirty="0">
                          <a:solidFill>
                            <a:schemeClr val="tx2"/>
                          </a:solidFill>
                          <a:latin typeface="Alliance No.2 Medium"/>
                          <a:cs typeface="Alliance No.2 Medium"/>
                        </a:rPr>
                        <a:t> </a:t>
                      </a:r>
                      <a:r>
                        <a:rPr lang="en-GB" sz="1800" b="0" spc="-20" dirty="0" err="1">
                          <a:solidFill>
                            <a:schemeClr val="tx2"/>
                          </a:solidFill>
                          <a:latin typeface="Alliance No.2 Medium"/>
                          <a:cs typeface="Alliance No.2 Medium"/>
                        </a:rPr>
                        <a:t>amet</a:t>
                      </a:r>
                      <a:r>
                        <a:rPr lang="en-GB" sz="1800" b="0" spc="-20" dirty="0">
                          <a:solidFill>
                            <a:schemeClr val="tx2"/>
                          </a:solidFill>
                          <a:latin typeface="Alliance No.2 Medium"/>
                          <a:cs typeface="Alliance No.2 Medium"/>
                        </a:rPr>
                        <a:t>, </a:t>
                      </a:r>
                      <a:r>
                        <a:rPr lang="en-GB" sz="1800" b="0" dirty="0" err="1">
                          <a:solidFill>
                            <a:schemeClr val="tx2"/>
                          </a:solidFill>
                          <a:latin typeface="Alliance No.2 Medium"/>
                          <a:cs typeface="Alliance No.2 Medium"/>
                        </a:rPr>
                        <a:t>consectetuer</a:t>
                      </a:r>
                      <a:r>
                        <a:rPr lang="en-GB" sz="1800" b="0" dirty="0">
                          <a:solidFill>
                            <a:schemeClr val="tx2"/>
                          </a:solidFill>
                          <a:latin typeface="Alliance No.2 Medium"/>
                          <a:cs typeface="Alliance No.2 Medium"/>
                        </a:rPr>
                        <a:t> </a:t>
                      </a:r>
                      <a:r>
                        <a:rPr lang="en-GB" sz="1800" b="0" dirty="0" err="1">
                          <a:solidFill>
                            <a:schemeClr val="tx2"/>
                          </a:solidFill>
                          <a:latin typeface="Alliance No.2 Medium"/>
                          <a:cs typeface="Alliance No.2 Medium"/>
                        </a:rPr>
                        <a:t>adipiscing</a:t>
                      </a:r>
                      <a:r>
                        <a:rPr lang="en-GB" sz="1800" b="0" dirty="0">
                          <a:solidFill>
                            <a:schemeClr val="tx2"/>
                          </a:solidFill>
                          <a:latin typeface="Alliance No.2 Medium"/>
                          <a:cs typeface="Alliance No.2 Medium"/>
                        </a:rPr>
                        <a:t> </a:t>
                      </a:r>
                      <a:r>
                        <a:rPr lang="en-GB" sz="1800" b="0" spc="-20" dirty="0" err="1">
                          <a:solidFill>
                            <a:schemeClr val="tx2"/>
                          </a:solidFill>
                          <a:latin typeface="Alliance No.2 Medium"/>
                          <a:cs typeface="Alliance No.2 Medium"/>
                        </a:rPr>
                        <a:t>elit</a:t>
                      </a:r>
                      <a:endParaRPr lang="en-US" sz="1800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391783"/>
                  </a:ext>
                </a:extLst>
              </a:tr>
            </a:tbl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EFB50853-2767-AA96-A8BC-DF7D23A5FC05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2802383" y="8654958"/>
            <a:ext cx="176169" cy="155443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5100624" y="0"/>
            <a:ext cx="2672080" cy="9479915"/>
            <a:chOff x="5100624" y="0"/>
            <a:chExt cx="2672080" cy="9479915"/>
          </a:xfrm>
        </p:grpSpPr>
        <p:sp>
          <p:nvSpPr>
            <p:cNvPr id="3" name="object 3"/>
            <p:cNvSpPr/>
            <p:nvPr/>
          </p:nvSpPr>
          <p:spPr>
            <a:xfrm>
              <a:off x="5100624" y="0"/>
              <a:ext cx="2672080" cy="9479915"/>
            </a:xfrm>
            <a:custGeom>
              <a:avLst/>
              <a:gdLst/>
              <a:ahLst/>
              <a:cxnLst/>
              <a:rect l="l" t="t" r="r" b="b"/>
              <a:pathLst>
                <a:path w="2672079" h="9479915">
                  <a:moveTo>
                    <a:pt x="2671775" y="0"/>
                  </a:moveTo>
                  <a:lnTo>
                    <a:pt x="0" y="0"/>
                  </a:lnTo>
                  <a:lnTo>
                    <a:pt x="0" y="9022651"/>
                  </a:lnTo>
                  <a:lnTo>
                    <a:pt x="2360" y="9069397"/>
                  </a:lnTo>
                  <a:lnTo>
                    <a:pt x="9288" y="9114792"/>
                  </a:lnTo>
                  <a:lnTo>
                    <a:pt x="20555" y="9158607"/>
                  </a:lnTo>
                  <a:lnTo>
                    <a:pt x="35929" y="9200613"/>
                  </a:lnTo>
                  <a:lnTo>
                    <a:pt x="55182" y="9240578"/>
                  </a:lnTo>
                  <a:lnTo>
                    <a:pt x="78083" y="9278274"/>
                  </a:lnTo>
                  <a:lnTo>
                    <a:pt x="104403" y="9313471"/>
                  </a:lnTo>
                  <a:lnTo>
                    <a:pt x="133911" y="9345939"/>
                  </a:lnTo>
                  <a:lnTo>
                    <a:pt x="166379" y="9375448"/>
                  </a:lnTo>
                  <a:lnTo>
                    <a:pt x="201576" y="9401768"/>
                  </a:lnTo>
                  <a:lnTo>
                    <a:pt x="239272" y="9424669"/>
                  </a:lnTo>
                  <a:lnTo>
                    <a:pt x="279238" y="9443922"/>
                  </a:lnTo>
                  <a:lnTo>
                    <a:pt x="321243" y="9459296"/>
                  </a:lnTo>
                  <a:lnTo>
                    <a:pt x="365059" y="9470562"/>
                  </a:lnTo>
                  <a:lnTo>
                    <a:pt x="410454" y="9477490"/>
                  </a:lnTo>
                  <a:lnTo>
                    <a:pt x="457199" y="9479851"/>
                  </a:lnTo>
                  <a:lnTo>
                    <a:pt x="2671775" y="9479851"/>
                  </a:lnTo>
                  <a:lnTo>
                    <a:pt x="2671775" y="0"/>
                  </a:lnTo>
                  <a:close/>
                </a:path>
              </a:pathLst>
            </a:custGeom>
            <a:solidFill>
              <a:srgbClr val="DFEFFC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4" name="object 4"/>
            <p:cNvPicPr/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00624" y="4571161"/>
              <a:ext cx="2671775" cy="4908702"/>
            </a:xfrm>
            <a:prstGeom prst="rect">
              <a:avLst/>
            </a:prstGeom>
          </p:spPr>
        </p:pic>
      </p:grpSp>
      <p:sp>
        <p:nvSpPr>
          <p:cNvPr id="5" name="object 5"/>
          <p:cNvSpPr txBox="1">
            <a:spLocks noGrp="1"/>
          </p:cNvSpPr>
          <p:nvPr>
            <p:ph type="title" idx="4294967295"/>
          </p:nvPr>
        </p:nvSpPr>
        <p:spPr>
          <a:xfrm>
            <a:off x="466725" y="1690688"/>
            <a:ext cx="3973513" cy="2466975"/>
          </a:xfrm>
          <a:prstGeom prst="rect">
            <a:avLst/>
          </a:prstGeom>
        </p:spPr>
        <p:txBody>
          <a:bodyPr vert="horz" wrap="square" lIns="0" tIns="0" rIns="0" bIns="0" rtlCol="0" anchor="b">
            <a:normAutofit/>
          </a:bodyPr>
          <a:lstStyle/>
          <a:p>
            <a:pPr marR="5080">
              <a:lnSpc>
                <a:spcPct val="75100"/>
              </a:lnSpc>
            </a:pPr>
            <a:r>
              <a:rPr sz="4800" spc="-114" dirty="0">
                <a:solidFill>
                  <a:schemeClr val="accent2"/>
                </a:solidFill>
              </a:rPr>
              <a:t>Lorem</a:t>
            </a:r>
            <a:r>
              <a:rPr sz="4800" spc="-155" dirty="0">
                <a:solidFill>
                  <a:schemeClr val="accent2"/>
                </a:solidFill>
              </a:rPr>
              <a:t> </a:t>
            </a:r>
            <a:r>
              <a:rPr sz="4800" spc="-10" dirty="0">
                <a:solidFill>
                  <a:schemeClr val="accent2"/>
                </a:solidFill>
              </a:rPr>
              <a:t>ipsum </a:t>
            </a:r>
            <a:r>
              <a:rPr sz="4800" spc="-85" dirty="0">
                <a:solidFill>
                  <a:schemeClr val="accent2"/>
                </a:solidFill>
              </a:rPr>
              <a:t>dolor</a:t>
            </a:r>
            <a:r>
              <a:rPr sz="4800" spc="-175" dirty="0">
                <a:solidFill>
                  <a:schemeClr val="accent2"/>
                </a:solidFill>
              </a:rPr>
              <a:t> </a:t>
            </a:r>
            <a:r>
              <a:rPr sz="4800" spc="-70" dirty="0">
                <a:solidFill>
                  <a:schemeClr val="accent2"/>
                </a:solidFill>
              </a:rPr>
              <a:t>sit</a:t>
            </a:r>
            <a:r>
              <a:rPr sz="4800" spc="-170" dirty="0">
                <a:solidFill>
                  <a:schemeClr val="accent2"/>
                </a:solidFill>
              </a:rPr>
              <a:t> </a:t>
            </a:r>
            <a:r>
              <a:rPr sz="4800" spc="-30" dirty="0" err="1">
                <a:solidFill>
                  <a:schemeClr val="accent2"/>
                </a:solidFill>
              </a:rPr>
              <a:t>amet</a:t>
            </a:r>
            <a:r>
              <a:rPr sz="4800" spc="-30" dirty="0">
                <a:solidFill>
                  <a:schemeClr val="accent2"/>
                </a:solidFill>
              </a:rPr>
              <a:t>,</a:t>
            </a:r>
            <a:r>
              <a:rPr lang="en-GB" sz="4800" spc="-30" dirty="0">
                <a:solidFill>
                  <a:schemeClr val="accent2"/>
                </a:solidFill>
              </a:rPr>
              <a:t> </a:t>
            </a:r>
            <a:r>
              <a:rPr lang="en-GB" sz="4800" spc="-30" dirty="0" err="1">
                <a:solidFill>
                  <a:schemeClr val="accent2"/>
                </a:solidFill>
              </a:rPr>
              <a:t>consectetuer</a:t>
            </a:r>
            <a:r>
              <a:rPr lang="en-GB" sz="4800" spc="-30" dirty="0">
                <a:solidFill>
                  <a:schemeClr val="accent2"/>
                </a:solidFill>
              </a:rPr>
              <a:t> </a:t>
            </a:r>
            <a:r>
              <a:rPr lang="en-GB" sz="4800" spc="-30" dirty="0" err="1">
                <a:solidFill>
                  <a:schemeClr val="accent2"/>
                </a:solidFill>
              </a:rPr>
              <a:t>adipiscing</a:t>
            </a:r>
            <a:endParaRPr sz="4800" dirty="0">
              <a:solidFill>
                <a:schemeClr val="accent2"/>
              </a:solidFill>
            </a:endParaRPr>
          </a:p>
        </p:txBody>
      </p:sp>
      <p:sp>
        <p:nvSpPr>
          <p:cNvPr id="205" name="object 205"/>
          <p:cNvSpPr txBox="1"/>
          <p:nvPr/>
        </p:nvSpPr>
        <p:spPr>
          <a:xfrm>
            <a:off x="5557838" y="2541649"/>
            <a:ext cx="1475105" cy="1397000"/>
          </a:xfrm>
          <a:prstGeom prst="rect">
            <a:avLst/>
          </a:prstGeom>
        </p:spPr>
        <p:txBody>
          <a:bodyPr vert="horz" wrap="square" lIns="0" tIns="0" rIns="0" bIns="0" rtlCol="0">
            <a:normAutofit/>
          </a:bodyPr>
          <a:lstStyle/>
          <a:p>
            <a:pPr marR="5080">
              <a:lnSpc>
                <a:spcPct val="100000"/>
              </a:lnSpc>
            </a:pPr>
            <a:r>
              <a:rPr sz="1000" dirty="0">
                <a:solidFill>
                  <a:schemeClr val="tx2"/>
                </a:solidFill>
                <a:latin typeface="Alliance No.2"/>
                <a:cs typeface="Alliance No.2"/>
              </a:rPr>
              <a:t>Lorem</a:t>
            </a:r>
            <a:r>
              <a:rPr sz="1000" spc="-2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>
                <a:solidFill>
                  <a:schemeClr val="tx2"/>
                </a:solidFill>
                <a:latin typeface="Alliance No.2"/>
                <a:cs typeface="Alliance No.2"/>
              </a:rPr>
              <a:t>ipsum</a:t>
            </a:r>
            <a:r>
              <a:rPr sz="1000" spc="-1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>
                <a:solidFill>
                  <a:schemeClr val="tx2"/>
                </a:solidFill>
                <a:latin typeface="Alliance No.2"/>
                <a:cs typeface="Alliance No.2"/>
              </a:rPr>
              <a:t>dolor</a:t>
            </a:r>
            <a:r>
              <a:rPr sz="1000" spc="-10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spc="-25" dirty="0">
                <a:solidFill>
                  <a:schemeClr val="tx2"/>
                </a:solidFill>
                <a:latin typeface="Alliance No.2"/>
                <a:cs typeface="Alliance No.2"/>
              </a:rPr>
              <a:t>sit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amet</a:t>
            </a:r>
            <a:r>
              <a:rPr sz="1000" dirty="0">
                <a:solidFill>
                  <a:schemeClr val="tx2"/>
                </a:solidFill>
                <a:latin typeface="Alliance No.2"/>
                <a:cs typeface="Alliance No.2"/>
              </a:rPr>
              <a:t>,</a:t>
            </a:r>
            <a:r>
              <a:rPr sz="1000" spc="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spc="-10" dirty="0" err="1">
                <a:solidFill>
                  <a:schemeClr val="tx2"/>
                </a:solidFill>
                <a:latin typeface="Alliance No.2"/>
                <a:cs typeface="Alliance No.2"/>
              </a:rPr>
              <a:t>consectetuer</a:t>
            </a:r>
            <a:r>
              <a:rPr sz="1000" spc="-10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adipiscing</a:t>
            </a:r>
            <a:r>
              <a:rPr sz="1000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elit</a:t>
            </a:r>
            <a:r>
              <a:rPr sz="1000" dirty="0">
                <a:solidFill>
                  <a:schemeClr val="tx2"/>
                </a:solidFill>
                <a:latin typeface="Alliance No.2"/>
                <a:cs typeface="Alliance No.2"/>
              </a:rPr>
              <a:t>,</a:t>
            </a:r>
            <a:r>
              <a:rPr sz="1000" spc="10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>
                <a:solidFill>
                  <a:schemeClr val="tx2"/>
                </a:solidFill>
                <a:latin typeface="Alliance No.2"/>
                <a:cs typeface="Alliance No.2"/>
              </a:rPr>
              <a:t>sed</a:t>
            </a:r>
            <a:r>
              <a:rPr sz="1000" spc="1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spc="-20" dirty="0">
                <a:solidFill>
                  <a:schemeClr val="tx2"/>
                </a:solidFill>
                <a:latin typeface="Alliance No.2"/>
                <a:cs typeface="Alliance No.2"/>
              </a:rPr>
              <a:t>diam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nonummy</a:t>
            </a:r>
            <a:r>
              <a:rPr sz="1000" spc="-1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nibh</a:t>
            </a:r>
            <a:r>
              <a:rPr sz="1000" spc="-1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spc="-10" dirty="0" err="1">
                <a:solidFill>
                  <a:schemeClr val="tx2"/>
                </a:solidFill>
                <a:latin typeface="Alliance No.2"/>
                <a:cs typeface="Alliance No.2"/>
              </a:rPr>
              <a:t>euismod</a:t>
            </a:r>
            <a:r>
              <a:rPr sz="1000" spc="-10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tincidunt</a:t>
            </a:r>
            <a:r>
              <a:rPr sz="1000" spc="-30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ut</a:t>
            </a:r>
            <a:r>
              <a:rPr sz="1000" spc="-2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spc="-10" dirty="0" err="1">
                <a:solidFill>
                  <a:schemeClr val="tx2"/>
                </a:solidFill>
                <a:latin typeface="Alliance No.2"/>
                <a:cs typeface="Alliance No.2"/>
              </a:rPr>
              <a:t>laoreet</a:t>
            </a:r>
            <a:r>
              <a:rPr sz="1000" spc="-10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>
                <a:solidFill>
                  <a:schemeClr val="tx2"/>
                </a:solidFill>
                <a:latin typeface="Alliance No.2"/>
                <a:cs typeface="Alliance No.2"/>
              </a:rPr>
              <a:t>dolore</a:t>
            </a:r>
            <a:r>
              <a:rPr sz="1000" spc="-10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>
                <a:solidFill>
                  <a:schemeClr val="tx2"/>
                </a:solidFill>
                <a:latin typeface="Alliance No.2"/>
                <a:cs typeface="Alliance No.2"/>
              </a:rPr>
              <a:t>magna</a:t>
            </a:r>
            <a:r>
              <a:rPr sz="1000" spc="-10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spc="-10" dirty="0" err="1">
                <a:solidFill>
                  <a:schemeClr val="tx2"/>
                </a:solidFill>
                <a:latin typeface="Alliance No.2"/>
                <a:cs typeface="Alliance No.2"/>
              </a:rPr>
              <a:t>aliquam</a:t>
            </a:r>
            <a:r>
              <a:rPr sz="1000" spc="-10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erat</a:t>
            </a:r>
            <a:r>
              <a:rPr sz="1000" spc="-20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volutpat</a:t>
            </a:r>
            <a:r>
              <a:rPr sz="1000" dirty="0">
                <a:solidFill>
                  <a:schemeClr val="tx2"/>
                </a:solidFill>
                <a:latin typeface="Alliance No.2"/>
                <a:cs typeface="Alliance No.2"/>
              </a:rPr>
              <a:t>.</a:t>
            </a:r>
            <a:r>
              <a:rPr sz="1000" spc="-20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>
                <a:solidFill>
                  <a:schemeClr val="tx2"/>
                </a:solidFill>
                <a:latin typeface="Alliance No.2"/>
                <a:cs typeface="Alliance No.2"/>
              </a:rPr>
              <a:t>Ut</a:t>
            </a:r>
            <a:r>
              <a:rPr sz="1000" spc="-20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spc="-20" dirty="0" err="1">
                <a:solidFill>
                  <a:schemeClr val="tx2"/>
                </a:solidFill>
                <a:latin typeface="Alliance No.2"/>
                <a:cs typeface="Alliance No.2"/>
              </a:rPr>
              <a:t>wisi</a:t>
            </a:r>
            <a:r>
              <a:rPr sz="1000" spc="-20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enim</a:t>
            </a:r>
            <a:r>
              <a:rPr sz="1000" dirty="0">
                <a:solidFill>
                  <a:schemeClr val="tx2"/>
                </a:solidFill>
                <a:latin typeface="Alliance No.2"/>
                <a:cs typeface="Alliance No.2"/>
              </a:rPr>
              <a:t> ad minim </a:t>
            </a:r>
            <a:r>
              <a:rPr sz="1000" spc="-10" dirty="0" err="1">
                <a:solidFill>
                  <a:schemeClr val="tx2"/>
                </a:solidFill>
                <a:latin typeface="Alliance No.2"/>
                <a:cs typeface="Alliance No.2"/>
              </a:rPr>
              <a:t>veniam</a:t>
            </a:r>
            <a:r>
              <a:rPr sz="1000" spc="-10" dirty="0">
                <a:solidFill>
                  <a:schemeClr val="tx2"/>
                </a:solidFill>
                <a:latin typeface="Alliance No.2"/>
                <a:cs typeface="Alliance No.2"/>
              </a:rPr>
              <a:t>,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quis</a:t>
            </a:r>
            <a:r>
              <a:rPr sz="1000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nostrud</a:t>
            </a:r>
            <a:r>
              <a:rPr sz="1000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spc="-10" dirty="0" err="1">
                <a:solidFill>
                  <a:schemeClr val="tx2"/>
                </a:solidFill>
                <a:latin typeface="Alliance No.2"/>
                <a:cs typeface="Alliance No.2"/>
              </a:rPr>
              <a:t>exerci</a:t>
            </a:r>
            <a:r>
              <a:rPr sz="1000" spc="-10" dirty="0">
                <a:solidFill>
                  <a:schemeClr val="tx2"/>
                </a:solidFill>
                <a:latin typeface="Alliance No.2"/>
                <a:cs typeface="Alliance No.2"/>
              </a:rPr>
              <a:t>.</a:t>
            </a:r>
            <a:endParaRPr sz="1000" dirty="0">
              <a:solidFill>
                <a:schemeClr val="tx2"/>
              </a:solidFill>
              <a:latin typeface="Alliance No.2"/>
              <a:cs typeface="Alliance No.2"/>
            </a:endParaRPr>
          </a:p>
        </p:txBody>
      </p:sp>
      <p:sp>
        <p:nvSpPr>
          <p:cNvPr id="206" name="object 206"/>
          <p:cNvSpPr/>
          <p:nvPr/>
        </p:nvSpPr>
        <p:spPr>
          <a:xfrm>
            <a:off x="5557838" y="2330455"/>
            <a:ext cx="290195" cy="0"/>
          </a:xfrm>
          <a:custGeom>
            <a:avLst/>
            <a:gdLst/>
            <a:ahLst/>
            <a:cxnLst/>
            <a:rect l="l" t="t" r="r" b="b"/>
            <a:pathLst>
              <a:path w="290195">
                <a:moveTo>
                  <a:pt x="0" y="0"/>
                </a:moveTo>
                <a:lnTo>
                  <a:pt x="289877" y="0"/>
                </a:lnTo>
              </a:path>
            </a:pathLst>
          </a:custGeom>
          <a:ln w="38100">
            <a:solidFill>
              <a:schemeClr val="accent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7" name="object 207"/>
          <p:cNvSpPr/>
          <p:nvPr/>
        </p:nvSpPr>
        <p:spPr>
          <a:xfrm>
            <a:off x="466725" y="8830281"/>
            <a:ext cx="3725545" cy="0"/>
          </a:xfrm>
          <a:custGeom>
            <a:avLst/>
            <a:gdLst/>
            <a:ahLst/>
            <a:cxnLst/>
            <a:rect l="l" t="t" r="r" b="b"/>
            <a:pathLst>
              <a:path w="3725545">
                <a:moveTo>
                  <a:pt x="0" y="0"/>
                </a:moveTo>
                <a:lnTo>
                  <a:pt x="3725113" y="0"/>
                </a:lnTo>
              </a:path>
            </a:pathLst>
          </a:custGeom>
          <a:ln w="9525">
            <a:solidFill>
              <a:srgbClr val="1E7DE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228" name="Group 227">
            <a:extLst>
              <a:ext uri="{FF2B5EF4-FFF2-40B4-BE49-F238E27FC236}">
                <a16:creationId xmlns:a16="http://schemas.microsoft.com/office/drawing/2014/main" id="{E2F03BAE-2059-5EA3-D7F9-98424CF91A4C}"/>
              </a:ext>
            </a:extLst>
          </p:cNvPr>
          <p:cNvGrpSpPr/>
          <p:nvPr/>
        </p:nvGrpSpPr>
        <p:grpSpPr>
          <a:xfrm>
            <a:off x="458587" y="450000"/>
            <a:ext cx="1237157" cy="548875"/>
            <a:chOff x="458587" y="458194"/>
            <a:chExt cx="1237157" cy="548875"/>
          </a:xfrm>
        </p:grpSpPr>
        <p:pic>
          <p:nvPicPr>
            <p:cNvPr id="208" name="object 208"/>
            <p:cNvPicPr/>
            <p:nvPr>
              <p:custDataLst>
                <p:tags r:id="rId2"/>
              </p:custDataLst>
            </p:nvPr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86090" y="477666"/>
              <a:ext cx="809654" cy="529403"/>
            </a:xfrm>
            <a:prstGeom prst="rect">
              <a:avLst/>
            </a:prstGeom>
          </p:spPr>
        </p:pic>
        <p:grpSp>
          <p:nvGrpSpPr>
            <p:cNvPr id="209" name="object 209"/>
            <p:cNvGrpSpPr/>
            <p:nvPr/>
          </p:nvGrpSpPr>
          <p:grpSpPr>
            <a:xfrm>
              <a:off x="458587" y="458194"/>
              <a:ext cx="353695" cy="383540"/>
              <a:chOff x="458587" y="458194"/>
              <a:chExt cx="353695" cy="383540"/>
            </a:xfrm>
          </p:grpSpPr>
          <p:pic>
            <p:nvPicPr>
              <p:cNvPr id="210" name="object 210"/>
              <p:cNvPicPr/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75741" y="590459"/>
                <a:ext cx="118986" cy="118986"/>
              </a:xfrm>
              <a:prstGeom prst="rect">
                <a:avLst/>
              </a:prstGeom>
            </p:spPr>
          </p:pic>
          <p:sp>
            <p:nvSpPr>
              <p:cNvPr id="211" name="object 211"/>
              <p:cNvSpPr/>
              <p:nvPr/>
            </p:nvSpPr>
            <p:spPr>
              <a:xfrm>
                <a:off x="458584" y="458202"/>
                <a:ext cx="353695" cy="383540"/>
              </a:xfrm>
              <a:custGeom>
                <a:avLst/>
                <a:gdLst/>
                <a:ahLst/>
                <a:cxnLst/>
                <a:rect l="l" t="t" r="r" b="b"/>
                <a:pathLst>
                  <a:path w="353695" h="383540">
                    <a:moveTo>
                      <a:pt x="289636" y="92748"/>
                    </a:moveTo>
                    <a:lnTo>
                      <a:pt x="231648" y="53365"/>
                    </a:lnTo>
                    <a:lnTo>
                      <a:pt x="178638" y="27279"/>
                    </a:lnTo>
                    <a:lnTo>
                      <a:pt x="129768" y="9779"/>
                    </a:lnTo>
                    <a:lnTo>
                      <a:pt x="86499" y="736"/>
                    </a:lnTo>
                    <a:lnTo>
                      <a:pt x="50330" y="0"/>
                    </a:lnTo>
                    <a:lnTo>
                      <a:pt x="22745" y="7404"/>
                    </a:lnTo>
                    <a:lnTo>
                      <a:pt x="5245" y="22821"/>
                    </a:lnTo>
                    <a:lnTo>
                      <a:pt x="0" y="55778"/>
                    </a:lnTo>
                    <a:lnTo>
                      <a:pt x="16421" y="97129"/>
                    </a:lnTo>
                    <a:lnTo>
                      <a:pt x="51752" y="143167"/>
                    </a:lnTo>
                    <a:lnTo>
                      <a:pt x="103251" y="190169"/>
                    </a:lnTo>
                    <a:lnTo>
                      <a:pt x="104927" y="191477"/>
                    </a:lnTo>
                    <a:lnTo>
                      <a:pt x="107315" y="191350"/>
                    </a:lnTo>
                    <a:lnTo>
                      <a:pt x="108826" y="189839"/>
                    </a:lnTo>
                    <a:lnTo>
                      <a:pt x="110629" y="188036"/>
                    </a:lnTo>
                    <a:lnTo>
                      <a:pt x="110591" y="185331"/>
                    </a:lnTo>
                    <a:lnTo>
                      <a:pt x="108877" y="183692"/>
                    </a:lnTo>
                    <a:lnTo>
                      <a:pt x="74091" y="145821"/>
                    </a:lnTo>
                    <a:lnTo>
                      <a:pt x="51117" y="110007"/>
                    </a:lnTo>
                    <a:lnTo>
                      <a:pt x="41567" y="78333"/>
                    </a:lnTo>
                    <a:lnTo>
                      <a:pt x="46990" y="52908"/>
                    </a:lnTo>
                    <a:lnTo>
                      <a:pt x="71120" y="35483"/>
                    </a:lnTo>
                    <a:lnTo>
                      <a:pt x="110515" y="31724"/>
                    </a:lnTo>
                    <a:lnTo>
                      <a:pt x="161417" y="40894"/>
                    </a:lnTo>
                    <a:lnTo>
                      <a:pt x="220052" y="62293"/>
                    </a:lnTo>
                    <a:lnTo>
                      <a:pt x="284302" y="96202"/>
                    </a:lnTo>
                    <a:lnTo>
                      <a:pt x="286435" y="95961"/>
                    </a:lnTo>
                    <a:lnTo>
                      <a:pt x="289636" y="92748"/>
                    </a:lnTo>
                    <a:close/>
                  </a:path>
                  <a:path w="353695" h="383540">
                    <a:moveTo>
                      <a:pt x="353288" y="327723"/>
                    </a:moveTo>
                    <a:lnTo>
                      <a:pt x="336867" y="286372"/>
                    </a:lnTo>
                    <a:lnTo>
                      <a:pt x="301536" y="240347"/>
                    </a:lnTo>
                    <a:lnTo>
                      <a:pt x="250037" y="193344"/>
                    </a:lnTo>
                    <a:lnTo>
                      <a:pt x="248361" y="192024"/>
                    </a:lnTo>
                    <a:lnTo>
                      <a:pt x="245973" y="192163"/>
                    </a:lnTo>
                    <a:lnTo>
                      <a:pt x="242658" y="195465"/>
                    </a:lnTo>
                    <a:lnTo>
                      <a:pt x="242697" y="198183"/>
                    </a:lnTo>
                    <a:lnTo>
                      <a:pt x="244411" y="199809"/>
                    </a:lnTo>
                    <a:lnTo>
                      <a:pt x="279209" y="237680"/>
                    </a:lnTo>
                    <a:lnTo>
                      <a:pt x="302171" y="273494"/>
                    </a:lnTo>
                    <a:lnTo>
                      <a:pt x="311734" y="305168"/>
                    </a:lnTo>
                    <a:lnTo>
                      <a:pt x="306298" y="330593"/>
                    </a:lnTo>
                    <a:lnTo>
                      <a:pt x="282168" y="348018"/>
                    </a:lnTo>
                    <a:lnTo>
                      <a:pt x="242773" y="351790"/>
                    </a:lnTo>
                    <a:lnTo>
                      <a:pt x="191884" y="342620"/>
                    </a:lnTo>
                    <a:lnTo>
                      <a:pt x="133248" y="321221"/>
                    </a:lnTo>
                    <a:lnTo>
                      <a:pt x="68973" y="287299"/>
                    </a:lnTo>
                    <a:lnTo>
                      <a:pt x="66852" y="287553"/>
                    </a:lnTo>
                    <a:lnTo>
                      <a:pt x="63639" y="290753"/>
                    </a:lnTo>
                    <a:lnTo>
                      <a:pt x="63881" y="293827"/>
                    </a:lnTo>
                    <a:lnTo>
                      <a:pt x="121653" y="330149"/>
                    </a:lnTo>
                    <a:lnTo>
                      <a:pt x="174650" y="356235"/>
                    </a:lnTo>
                    <a:lnTo>
                      <a:pt x="223532" y="373722"/>
                    </a:lnTo>
                    <a:lnTo>
                      <a:pt x="266788" y="382765"/>
                    </a:lnTo>
                    <a:lnTo>
                      <a:pt x="302958" y="383501"/>
                    </a:lnTo>
                    <a:lnTo>
                      <a:pt x="330530" y="376097"/>
                    </a:lnTo>
                    <a:lnTo>
                      <a:pt x="348030" y="360680"/>
                    </a:lnTo>
                    <a:lnTo>
                      <a:pt x="353288" y="327723"/>
                    </a:lnTo>
                    <a:close/>
                  </a:path>
                </a:pathLst>
              </a:custGeom>
              <a:solidFill>
                <a:srgbClr val="000013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</p:grpSp>
      <p:sp>
        <p:nvSpPr>
          <p:cNvPr id="213" name="object 213"/>
          <p:cNvSpPr txBox="1"/>
          <p:nvPr/>
        </p:nvSpPr>
        <p:spPr>
          <a:xfrm>
            <a:off x="638497" y="9032961"/>
            <a:ext cx="3553773" cy="412934"/>
          </a:xfrm>
          <a:prstGeom prst="rect">
            <a:avLst/>
          </a:prstGeom>
        </p:spPr>
        <p:txBody>
          <a:bodyPr vert="horz" wrap="square" lIns="10800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300" dirty="0">
                <a:solidFill>
                  <a:schemeClr val="accent2"/>
                </a:solidFill>
                <a:latin typeface="Alliance No.2"/>
                <a:cs typeface="Alliance No.2"/>
              </a:rPr>
              <a:t>For</a:t>
            </a:r>
            <a:r>
              <a:rPr sz="1300" spc="-20" dirty="0">
                <a:solidFill>
                  <a:schemeClr val="accent2"/>
                </a:solidFill>
                <a:latin typeface="Alliance No.2"/>
                <a:cs typeface="Alliance No.2"/>
              </a:rPr>
              <a:t> </a:t>
            </a:r>
            <a:r>
              <a:rPr sz="1300" dirty="0">
                <a:solidFill>
                  <a:schemeClr val="accent2"/>
                </a:solidFill>
                <a:latin typeface="Alliance No.2"/>
                <a:cs typeface="Alliance No.2"/>
              </a:rPr>
              <a:t>more</a:t>
            </a:r>
            <a:r>
              <a:rPr sz="1300" spc="-15" dirty="0">
                <a:solidFill>
                  <a:schemeClr val="accent2"/>
                </a:solidFill>
                <a:latin typeface="Alliance No.2"/>
                <a:cs typeface="Alliance No.2"/>
              </a:rPr>
              <a:t> </a:t>
            </a:r>
            <a:r>
              <a:rPr sz="1300" spc="-10" dirty="0">
                <a:solidFill>
                  <a:schemeClr val="accent2"/>
                </a:solidFill>
                <a:latin typeface="Alliance No.2"/>
                <a:cs typeface="Alliance No.2"/>
              </a:rPr>
              <a:t>information</a:t>
            </a:r>
            <a:r>
              <a:rPr sz="1300" spc="-20" dirty="0">
                <a:solidFill>
                  <a:schemeClr val="accent2"/>
                </a:solidFill>
                <a:latin typeface="Alliance No.2"/>
                <a:cs typeface="Alliance No.2"/>
              </a:rPr>
              <a:t> </a:t>
            </a:r>
            <a:r>
              <a:rPr sz="1300" dirty="0">
                <a:solidFill>
                  <a:schemeClr val="accent2"/>
                </a:solidFill>
                <a:latin typeface="Alliance No.2"/>
                <a:cs typeface="Alliance No.2"/>
              </a:rPr>
              <a:t>register</a:t>
            </a:r>
            <a:r>
              <a:rPr sz="1300" spc="-15" dirty="0">
                <a:solidFill>
                  <a:schemeClr val="accent2"/>
                </a:solidFill>
                <a:latin typeface="Alliance No.2"/>
                <a:cs typeface="Alliance No.2"/>
              </a:rPr>
              <a:t> </a:t>
            </a:r>
            <a:r>
              <a:rPr sz="1300" spc="-25" dirty="0">
                <a:solidFill>
                  <a:schemeClr val="accent2"/>
                </a:solidFill>
                <a:latin typeface="Alliance No.2"/>
                <a:cs typeface="Alliance No.2"/>
              </a:rPr>
              <a:t>at:</a:t>
            </a:r>
            <a:endParaRPr sz="1300" dirty="0">
              <a:solidFill>
                <a:schemeClr val="accent2"/>
              </a:solidFill>
              <a:latin typeface="Alliance No.2"/>
              <a:cs typeface="Alliance No.2"/>
            </a:endParaRPr>
          </a:p>
          <a:p>
            <a:pPr marL="12700">
              <a:lnSpc>
                <a:spcPct val="100000"/>
              </a:lnSpc>
              <a:spcBef>
                <a:spcPts val="40"/>
              </a:spcBef>
            </a:pPr>
            <a:r>
              <a:rPr sz="1300" b="1" u="sng" spc="-10" dirty="0">
                <a:solidFill>
                  <a:schemeClr val="accent2"/>
                </a:solidFill>
                <a:uFill>
                  <a:solidFill>
                    <a:srgbClr val="1E7DED"/>
                  </a:solidFill>
                </a:uFill>
                <a:latin typeface="Alliance No.2"/>
                <a:cs typeface="Alliance No.2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ohnsmith@spacecenter.org</a:t>
            </a:r>
            <a:endParaRPr sz="1300" dirty="0">
              <a:solidFill>
                <a:schemeClr val="accent2"/>
              </a:solidFill>
              <a:latin typeface="Alliance No.2"/>
              <a:cs typeface="Alliance No.2"/>
            </a:endParaRPr>
          </a:p>
        </p:txBody>
      </p:sp>
      <p:sp>
        <p:nvSpPr>
          <p:cNvPr id="225" name="object 12">
            <a:extLst>
              <a:ext uri="{FF2B5EF4-FFF2-40B4-BE49-F238E27FC236}">
                <a16:creationId xmlns:a16="http://schemas.microsoft.com/office/drawing/2014/main" id="{45DB189F-9A29-48EB-E3DD-2E212CF30BF3}"/>
              </a:ext>
            </a:extLst>
          </p:cNvPr>
          <p:cNvSpPr txBox="1"/>
          <p:nvPr/>
        </p:nvSpPr>
        <p:spPr>
          <a:xfrm>
            <a:off x="466725" y="4609261"/>
            <a:ext cx="4245769" cy="375844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 algn="l">
              <a:spcBef>
                <a:spcPts val="600"/>
              </a:spcBef>
              <a:spcAft>
                <a:spcPts val="800"/>
              </a:spcAft>
            </a:pPr>
            <a:r>
              <a:rPr spc="9" dirty="0">
                <a:solidFill>
                  <a:schemeClr val="tx2"/>
                </a:solidFill>
                <a:latin typeface="Alliance No.2 Medium" pitchFamily="50" charset="0"/>
              </a:rPr>
              <a:t>Lorem ipsum dolor sit </a:t>
            </a:r>
            <a:r>
              <a:rPr spc="9" dirty="0" err="1">
                <a:solidFill>
                  <a:schemeClr val="tx2"/>
                </a:solidFill>
                <a:latin typeface="Alliance No.2 Medium" pitchFamily="50" charset="0"/>
              </a:rPr>
              <a:t>amet</a:t>
            </a:r>
            <a:r>
              <a:rPr lang="en-GB" spc="9" dirty="0">
                <a:solidFill>
                  <a:schemeClr val="tx2"/>
                </a:solidFill>
                <a:latin typeface="Alliance No.2 Medium" pitchFamily="50" charset="0"/>
              </a:rPr>
              <a:t> </a:t>
            </a:r>
            <a:r>
              <a:rPr lang="en-GB" spc="9" dirty="0" err="1">
                <a:solidFill>
                  <a:schemeClr val="tx2"/>
                </a:solidFill>
                <a:latin typeface="Alliance No.2 Medium" pitchFamily="50" charset="0"/>
              </a:rPr>
              <a:t>Consectetuer</a:t>
            </a:r>
            <a:r>
              <a:rPr lang="en-GB" spc="9" dirty="0">
                <a:solidFill>
                  <a:schemeClr val="tx2"/>
                </a:solidFill>
                <a:latin typeface="Alliance No.2 Medium" pitchFamily="50" charset="0"/>
              </a:rPr>
              <a:t> </a:t>
            </a:r>
            <a:r>
              <a:rPr lang="en-GB" spc="9" dirty="0" err="1">
                <a:solidFill>
                  <a:schemeClr val="tx2"/>
                </a:solidFill>
                <a:latin typeface="Alliance No.2 Medium" pitchFamily="50" charset="0"/>
              </a:rPr>
              <a:t>adipiscing</a:t>
            </a:r>
            <a:r>
              <a:rPr lang="en-GB" spc="9" dirty="0">
                <a:solidFill>
                  <a:schemeClr val="tx2"/>
                </a:solidFill>
                <a:latin typeface="Alliance No.2 Medium" pitchFamily="50" charset="0"/>
              </a:rPr>
              <a:t> </a:t>
            </a:r>
            <a:r>
              <a:rPr lang="en-GB" spc="9" dirty="0" err="1">
                <a:solidFill>
                  <a:schemeClr val="tx2"/>
                </a:solidFill>
                <a:latin typeface="Alliance No.2 Medium" pitchFamily="50" charset="0"/>
              </a:rPr>
              <a:t>elit</a:t>
            </a:r>
            <a:r>
              <a:rPr lang="en-GB" spc="9" dirty="0">
                <a:solidFill>
                  <a:schemeClr val="tx2"/>
                </a:solidFill>
                <a:latin typeface="Alliance No.2 Medium" pitchFamily="50" charset="0"/>
              </a:rPr>
              <a:t> </a:t>
            </a:r>
            <a:r>
              <a:rPr lang="en-GB" spc="9" dirty="0" err="1">
                <a:solidFill>
                  <a:schemeClr val="tx2"/>
                </a:solidFill>
                <a:latin typeface="Alliance No.2 Medium" pitchFamily="50" charset="0"/>
              </a:rPr>
              <a:t>sed</a:t>
            </a:r>
            <a:endParaRPr lang="en-GB" spc="9" dirty="0">
              <a:solidFill>
                <a:schemeClr val="tx2"/>
              </a:solidFill>
              <a:latin typeface="Alliance No.2 Medium" pitchFamily="50" charset="0"/>
            </a:endParaRPr>
          </a:p>
          <a:p>
            <a:pPr marR="0" lvl="0" indent="0" defTabSz="914400" eaLnBrk="1" fontAlgn="auto" latinLnBrk="0" hangingPunct="1">
              <a:lnSpc>
                <a:spcPct val="116000"/>
              </a:lnSpc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chemeClr val="tx2"/>
                </a:solidFill>
                <a:latin typeface="Alliance No.2"/>
              </a:rPr>
              <a:t>Lorem ipsum </a:t>
            </a:r>
            <a:r>
              <a:rPr lang="en-GB" sz="1200" dirty="0" err="1">
                <a:solidFill>
                  <a:schemeClr val="tx2"/>
                </a:solidFill>
                <a:latin typeface="Alliance No.2"/>
              </a:rPr>
              <a:t>dolor</a:t>
            </a:r>
            <a:r>
              <a:rPr lang="en-GB" sz="1200" dirty="0">
                <a:solidFill>
                  <a:schemeClr val="tx2"/>
                </a:solidFill>
                <a:latin typeface="Alliance No.2"/>
              </a:rPr>
              <a:t> sit </a:t>
            </a:r>
            <a:r>
              <a:rPr lang="en-GB" sz="1200" dirty="0" err="1">
                <a:solidFill>
                  <a:schemeClr val="tx2"/>
                </a:solidFill>
                <a:latin typeface="Alliance No.2"/>
              </a:rPr>
              <a:t>amet</a:t>
            </a:r>
            <a:r>
              <a:rPr lang="en-GB" sz="1200" dirty="0">
                <a:solidFill>
                  <a:schemeClr val="tx2"/>
                </a:solidFill>
                <a:latin typeface="Alliance No.2"/>
              </a:rPr>
              <a:t>, </a:t>
            </a:r>
            <a:r>
              <a:rPr lang="en-GB" sz="1200" dirty="0" err="1">
                <a:solidFill>
                  <a:schemeClr val="tx2"/>
                </a:solidFill>
                <a:latin typeface="Alliance No.2"/>
              </a:rPr>
              <a:t>consectetuer</a:t>
            </a:r>
            <a:r>
              <a:rPr lang="en-GB" sz="12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200" dirty="0" err="1">
                <a:solidFill>
                  <a:schemeClr val="tx2"/>
                </a:solidFill>
                <a:latin typeface="Alliance No.2"/>
              </a:rPr>
              <a:t>adipiscing</a:t>
            </a:r>
            <a:r>
              <a:rPr lang="en-GB" sz="12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200" dirty="0" err="1">
                <a:solidFill>
                  <a:schemeClr val="tx2"/>
                </a:solidFill>
                <a:latin typeface="Alliance No.2"/>
              </a:rPr>
              <a:t>elit</a:t>
            </a:r>
            <a:r>
              <a:rPr lang="en-GB" sz="1200" dirty="0">
                <a:solidFill>
                  <a:schemeClr val="tx2"/>
                </a:solidFill>
                <a:latin typeface="Alliance No.2"/>
              </a:rPr>
              <a:t>, </a:t>
            </a:r>
            <a:r>
              <a:rPr lang="en-GB" sz="1200" dirty="0" err="1">
                <a:solidFill>
                  <a:schemeClr val="tx2"/>
                </a:solidFill>
                <a:latin typeface="Alliance No.2"/>
              </a:rPr>
              <a:t>sed</a:t>
            </a:r>
            <a:r>
              <a:rPr lang="en-GB" sz="1200" dirty="0">
                <a:solidFill>
                  <a:schemeClr val="tx2"/>
                </a:solidFill>
                <a:latin typeface="Alliance No.2"/>
              </a:rPr>
              <a:t> Maecenas </a:t>
            </a:r>
            <a:r>
              <a:rPr lang="en-GB" sz="1200" dirty="0" err="1">
                <a:solidFill>
                  <a:schemeClr val="tx2"/>
                </a:solidFill>
                <a:latin typeface="Alliance No.2"/>
              </a:rPr>
              <a:t>porttitor</a:t>
            </a:r>
            <a:r>
              <a:rPr lang="en-GB" sz="12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200" dirty="0" err="1">
                <a:solidFill>
                  <a:schemeClr val="tx2"/>
                </a:solidFill>
                <a:latin typeface="Alliance No.2"/>
              </a:rPr>
              <a:t>congue</a:t>
            </a:r>
            <a:r>
              <a:rPr lang="en-GB" sz="12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200" dirty="0" err="1">
                <a:solidFill>
                  <a:schemeClr val="tx2"/>
                </a:solidFill>
                <a:latin typeface="Alliance No.2"/>
              </a:rPr>
              <a:t>massa</a:t>
            </a:r>
            <a:r>
              <a:rPr lang="en-GB" sz="1200" dirty="0">
                <a:solidFill>
                  <a:schemeClr val="tx2"/>
                </a:solidFill>
                <a:latin typeface="Alliance No.2"/>
              </a:rPr>
              <a:t>. </a:t>
            </a:r>
            <a:r>
              <a:rPr lang="en-GB" sz="1200" dirty="0" err="1">
                <a:solidFill>
                  <a:schemeClr val="tx2"/>
                </a:solidFill>
                <a:latin typeface="Alliance No.2"/>
              </a:rPr>
              <a:t>Fusce</a:t>
            </a:r>
            <a:r>
              <a:rPr lang="en-GB" sz="12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200" dirty="0" err="1">
                <a:solidFill>
                  <a:schemeClr val="tx2"/>
                </a:solidFill>
                <a:latin typeface="Alliance No.2"/>
              </a:rPr>
              <a:t>posuere</a:t>
            </a:r>
            <a:r>
              <a:rPr lang="en-GB" sz="1200" dirty="0">
                <a:solidFill>
                  <a:schemeClr val="tx2"/>
                </a:solidFill>
                <a:latin typeface="Alliance No.2"/>
              </a:rPr>
              <a:t>, magna </a:t>
            </a:r>
            <a:r>
              <a:rPr lang="en-GB" sz="1200" dirty="0" err="1">
                <a:solidFill>
                  <a:schemeClr val="tx2"/>
                </a:solidFill>
                <a:latin typeface="Alliance No.2"/>
              </a:rPr>
              <a:t>sed</a:t>
            </a:r>
            <a:r>
              <a:rPr lang="en-GB" sz="1200" dirty="0">
                <a:solidFill>
                  <a:schemeClr val="tx2"/>
                </a:solidFill>
                <a:latin typeface="Alliance No.2"/>
              </a:rPr>
              <a:t> pulvinar </a:t>
            </a:r>
            <a:r>
              <a:rPr lang="en-GB" sz="1200" dirty="0" err="1">
                <a:solidFill>
                  <a:schemeClr val="tx2"/>
                </a:solidFill>
                <a:latin typeface="Alliance No.2"/>
              </a:rPr>
              <a:t>ultricies</a:t>
            </a:r>
            <a:r>
              <a:rPr lang="en-GB" sz="1200" dirty="0">
                <a:solidFill>
                  <a:schemeClr val="tx2"/>
                </a:solidFill>
                <a:latin typeface="Alliance No.2"/>
              </a:rPr>
              <a:t>, </a:t>
            </a:r>
            <a:r>
              <a:rPr lang="en-GB" sz="1200" dirty="0" err="1">
                <a:solidFill>
                  <a:schemeClr val="tx2"/>
                </a:solidFill>
                <a:latin typeface="Alliance No.2"/>
              </a:rPr>
              <a:t>purus</a:t>
            </a:r>
            <a:r>
              <a:rPr lang="en-GB" sz="12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200" dirty="0" err="1">
                <a:solidFill>
                  <a:schemeClr val="tx2"/>
                </a:solidFill>
                <a:latin typeface="Alliance No.2"/>
              </a:rPr>
              <a:t>lectus</a:t>
            </a:r>
            <a:r>
              <a:rPr lang="en-GB" sz="12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200" dirty="0" err="1">
                <a:solidFill>
                  <a:schemeClr val="tx2"/>
                </a:solidFill>
                <a:latin typeface="Alliance No.2"/>
              </a:rPr>
              <a:t>malesuada</a:t>
            </a:r>
            <a:r>
              <a:rPr lang="en-GB" sz="1200" dirty="0">
                <a:solidFill>
                  <a:schemeClr val="tx2"/>
                </a:solidFill>
                <a:latin typeface="Alliance No.2"/>
              </a:rPr>
              <a:t> libero, sit </a:t>
            </a:r>
            <a:r>
              <a:rPr lang="en-GB" sz="1200" dirty="0" err="1">
                <a:solidFill>
                  <a:schemeClr val="tx2"/>
                </a:solidFill>
                <a:latin typeface="Alliance No.2"/>
              </a:rPr>
              <a:t>amet</a:t>
            </a:r>
            <a:r>
              <a:rPr lang="en-GB" sz="12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200" dirty="0" err="1">
                <a:solidFill>
                  <a:schemeClr val="tx2"/>
                </a:solidFill>
                <a:latin typeface="Alliance No.2"/>
              </a:rPr>
              <a:t>commodo</a:t>
            </a:r>
            <a:r>
              <a:rPr lang="en-GB" sz="1200" dirty="0">
                <a:solidFill>
                  <a:schemeClr val="tx2"/>
                </a:solidFill>
                <a:latin typeface="Alliance No.2"/>
              </a:rPr>
              <a:t> magna eros </a:t>
            </a:r>
            <a:r>
              <a:rPr lang="en-GB" sz="1200" dirty="0" err="1">
                <a:solidFill>
                  <a:schemeClr val="tx2"/>
                </a:solidFill>
                <a:latin typeface="Alliance No.2"/>
              </a:rPr>
              <a:t>quis</a:t>
            </a:r>
            <a:r>
              <a:rPr lang="en-GB" sz="12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200" dirty="0" err="1">
                <a:solidFill>
                  <a:schemeClr val="tx2"/>
                </a:solidFill>
                <a:latin typeface="Alliance No.2"/>
              </a:rPr>
              <a:t>urna</a:t>
            </a:r>
            <a:r>
              <a:rPr lang="en-GB" sz="1200" dirty="0">
                <a:solidFill>
                  <a:schemeClr val="tx2"/>
                </a:solidFill>
                <a:latin typeface="Alliance No.2"/>
              </a:rPr>
              <a:t>. Nunc </a:t>
            </a:r>
            <a:r>
              <a:rPr lang="en-GB" sz="1200" dirty="0" err="1">
                <a:solidFill>
                  <a:schemeClr val="tx2"/>
                </a:solidFill>
                <a:latin typeface="Alliance No.2"/>
              </a:rPr>
              <a:t>viverra</a:t>
            </a:r>
            <a:r>
              <a:rPr lang="en-GB" sz="12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200" dirty="0" err="1">
                <a:solidFill>
                  <a:schemeClr val="tx2"/>
                </a:solidFill>
                <a:latin typeface="Alliance No.2"/>
              </a:rPr>
              <a:t>imperdiet</a:t>
            </a:r>
            <a:r>
              <a:rPr lang="en-GB" sz="12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200" dirty="0" err="1">
                <a:solidFill>
                  <a:schemeClr val="tx2"/>
                </a:solidFill>
                <a:latin typeface="Alliance No.2"/>
              </a:rPr>
              <a:t>enim</a:t>
            </a:r>
            <a:r>
              <a:rPr lang="en-GB" sz="1200" dirty="0">
                <a:solidFill>
                  <a:schemeClr val="tx2"/>
                </a:solidFill>
                <a:latin typeface="Alliance No.2"/>
              </a:rPr>
              <a:t>. </a:t>
            </a:r>
            <a:r>
              <a:rPr lang="en-GB" sz="1200" dirty="0" err="1">
                <a:solidFill>
                  <a:schemeClr val="tx2"/>
                </a:solidFill>
                <a:latin typeface="Alliance No.2"/>
              </a:rPr>
              <a:t>Fusce</a:t>
            </a:r>
            <a:r>
              <a:rPr lang="en-GB" sz="1200" dirty="0">
                <a:solidFill>
                  <a:schemeClr val="tx2"/>
                </a:solidFill>
                <a:latin typeface="Alliance No.2"/>
              </a:rPr>
              <a:t> est. </a:t>
            </a:r>
            <a:r>
              <a:rPr lang="en-GB" sz="1200" dirty="0" err="1">
                <a:solidFill>
                  <a:schemeClr val="tx2"/>
                </a:solidFill>
                <a:latin typeface="Alliance No.2"/>
              </a:rPr>
              <a:t>Vivamus</a:t>
            </a:r>
            <a:r>
              <a:rPr lang="en-GB" sz="1200" dirty="0">
                <a:solidFill>
                  <a:schemeClr val="tx2"/>
                </a:solidFill>
                <a:latin typeface="Alliance No.2"/>
              </a:rPr>
              <a:t> a </a:t>
            </a:r>
            <a:r>
              <a:rPr lang="en-GB" sz="1200" dirty="0" err="1">
                <a:solidFill>
                  <a:schemeClr val="tx2"/>
                </a:solidFill>
                <a:latin typeface="Alliance No.2"/>
              </a:rPr>
              <a:t>tellus</a:t>
            </a:r>
            <a:r>
              <a:rPr lang="en-GB" sz="1200" dirty="0">
                <a:solidFill>
                  <a:schemeClr val="tx2"/>
                </a:solidFill>
                <a:latin typeface="Alliance No.2"/>
              </a:rPr>
              <a:t>. </a:t>
            </a:r>
            <a:r>
              <a:rPr lang="en-GB" sz="1200" dirty="0" err="1">
                <a:solidFill>
                  <a:schemeClr val="tx2"/>
                </a:solidFill>
                <a:latin typeface="Alliance No.2"/>
              </a:rPr>
              <a:t>Pellentesque</a:t>
            </a:r>
            <a:r>
              <a:rPr lang="en-GB" sz="1200" dirty="0">
                <a:solidFill>
                  <a:schemeClr val="tx2"/>
                </a:solidFill>
                <a:latin typeface="Alliance No.2"/>
              </a:rPr>
              <a:t> habitant </a:t>
            </a:r>
            <a:r>
              <a:rPr lang="en-GB" sz="1200" dirty="0" err="1">
                <a:solidFill>
                  <a:schemeClr val="tx2"/>
                </a:solidFill>
                <a:latin typeface="Alliance No.2"/>
              </a:rPr>
              <a:t>morbi</a:t>
            </a:r>
            <a:r>
              <a:rPr lang="en-GB" sz="12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200" dirty="0" err="1">
                <a:solidFill>
                  <a:schemeClr val="tx2"/>
                </a:solidFill>
                <a:latin typeface="Alliance No.2"/>
              </a:rPr>
              <a:t>tristique</a:t>
            </a:r>
            <a:r>
              <a:rPr lang="en-GB" sz="12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200" dirty="0" err="1">
                <a:solidFill>
                  <a:schemeClr val="tx2"/>
                </a:solidFill>
                <a:latin typeface="Alliance No.2"/>
              </a:rPr>
              <a:t>senectus</a:t>
            </a:r>
            <a:r>
              <a:rPr lang="en-GB" sz="1200" dirty="0">
                <a:solidFill>
                  <a:schemeClr val="tx2"/>
                </a:solidFill>
                <a:latin typeface="Alliance No.2"/>
              </a:rPr>
              <a:t> et </a:t>
            </a:r>
            <a:r>
              <a:rPr lang="en-GB" sz="1200" dirty="0" err="1">
                <a:solidFill>
                  <a:schemeClr val="tx2"/>
                </a:solidFill>
                <a:latin typeface="Alliance No.2"/>
              </a:rPr>
              <a:t>netus</a:t>
            </a:r>
            <a:r>
              <a:rPr lang="en-GB" sz="1200" dirty="0">
                <a:solidFill>
                  <a:schemeClr val="tx2"/>
                </a:solidFill>
                <a:latin typeface="Alliance No.2"/>
              </a:rPr>
              <a:t> et </a:t>
            </a:r>
            <a:r>
              <a:rPr lang="en-GB" sz="1200" dirty="0" err="1">
                <a:solidFill>
                  <a:schemeClr val="tx2"/>
                </a:solidFill>
                <a:latin typeface="Alliance No.2"/>
              </a:rPr>
              <a:t>malesuada</a:t>
            </a:r>
            <a:r>
              <a:rPr lang="en-GB" sz="1200" dirty="0">
                <a:solidFill>
                  <a:schemeClr val="tx2"/>
                </a:solidFill>
                <a:latin typeface="Alliance No.2"/>
              </a:rPr>
              <a:t> fames ac </a:t>
            </a:r>
            <a:r>
              <a:rPr lang="en-GB" sz="1200" dirty="0" err="1">
                <a:solidFill>
                  <a:schemeClr val="tx2"/>
                </a:solidFill>
                <a:latin typeface="Alliance No.2"/>
              </a:rPr>
              <a:t>turpis</a:t>
            </a:r>
            <a:r>
              <a:rPr lang="en-GB" sz="12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200" dirty="0" err="1">
                <a:solidFill>
                  <a:schemeClr val="tx2"/>
                </a:solidFill>
                <a:latin typeface="Alliance No.2"/>
              </a:rPr>
              <a:t>egestas</a:t>
            </a:r>
            <a:r>
              <a:rPr lang="en-GB" sz="1200" dirty="0">
                <a:solidFill>
                  <a:schemeClr val="tx2"/>
                </a:solidFill>
                <a:latin typeface="Alliance No.2"/>
              </a:rPr>
              <a:t>. </a:t>
            </a:r>
          </a:p>
          <a:p>
            <a:pPr marR="0" lvl="0" indent="0" algn="l" defTabSz="914400" eaLnBrk="1" fontAlgn="auto" latinLnBrk="0" hangingPunct="1">
              <a:spcBef>
                <a:spcPts val="6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lang="da-DK" spc="9" dirty="0">
                <a:solidFill>
                  <a:schemeClr val="tx2"/>
                </a:solidFill>
                <a:latin typeface="Alliance No.2 Medium" pitchFamily="50" charset="0"/>
              </a:rPr>
              <a:t>Lorem ipsum dolor sit amet</a:t>
            </a:r>
          </a:p>
          <a:p>
            <a:pPr marL="9525" indent="168275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GB" sz="1200" spc="1" dirty="0">
                <a:solidFill>
                  <a:schemeClr val="tx2"/>
                </a:solidFill>
                <a:latin typeface="Alliance No.2"/>
              </a:rPr>
              <a:t>Lorem ipsum </a:t>
            </a:r>
            <a:r>
              <a:rPr lang="en-GB" sz="1200" spc="1" dirty="0" err="1">
                <a:solidFill>
                  <a:schemeClr val="tx2"/>
                </a:solidFill>
                <a:latin typeface="Alliance No.2"/>
              </a:rPr>
              <a:t>dolor</a:t>
            </a:r>
            <a:r>
              <a:rPr lang="en-GB" sz="1200" spc="1" dirty="0">
                <a:solidFill>
                  <a:schemeClr val="tx2"/>
                </a:solidFill>
                <a:latin typeface="Alliance No.2"/>
              </a:rPr>
              <a:t> sit </a:t>
            </a:r>
            <a:r>
              <a:rPr lang="en-GB" sz="1200" spc="1" dirty="0" err="1">
                <a:solidFill>
                  <a:schemeClr val="tx2"/>
                </a:solidFill>
                <a:latin typeface="Alliance No.2"/>
              </a:rPr>
              <a:t>amet</a:t>
            </a:r>
            <a:r>
              <a:rPr lang="en-GB" sz="1200" spc="1" dirty="0">
                <a:solidFill>
                  <a:schemeClr val="tx2"/>
                </a:solidFill>
                <a:latin typeface="Alliance No.2"/>
              </a:rPr>
              <a:t>, </a:t>
            </a:r>
            <a:r>
              <a:rPr lang="en-GB" sz="1200" spc="1" dirty="0" err="1">
                <a:solidFill>
                  <a:schemeClr val="tx2"/>
                </a:solidFill>
                <a:latin typeface="Alliance No.2"/>
              </a:rPr>
              <a:t>consectetuer</a:t>
            </a:r>
            <a:r>
              <a:rPr lang="en-GB" sz="1200" spc="1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200" spc="1" dirty="0" err="1">
                <a:solidFill>
                  <a:schemeClr val="tx2"/>
                </a:solidFill>
                <a:latin typeface="Alliance No.2"/>
              </a:rPr>
              <a:t>elit</a:t>
            </a:r>
            <a:endParaRPr lang="en-GB" sz="1200" spc="1" dirty="0">
              <a:solidFill>
                <a:schemeClr val="tx2"/>
              </a:solidFill>
              <a:latin typeface="Alliance No.2"/>
            </a:endParaRPr>
          </a:p>
          <a:p>
            <a:pPr marL="9525" indent="168275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GB" sz="1200" spc="1" dirty="0">
                <a:solidFill>
                  <a:schemeClr val="tx2"/>
                </a:solidFill>
                <a:latin typeface="Alliance No.2"/>
              </a:rPr>
              <a:t>Lorem ipsum </a:t>
            </a:r>
            <a:r>
              <a:rPr lang="en-GB" sz="1200" spc="1" dirty="0" err="1">
                <a:solidFill>
                  <a:schemeClr val="tx2"/>
                </a:solidFill>
                <a:latin typeface="Alliance No.2"/>
              </a:rPr>
              <a:t>dolor</a:t>
            </a:r>
            <a:r>
              <a:rPr lang="en-GB" sz="1200" spc="1" dirty="0">
                <a:solidFill>
                  <a:schemeClr val="tx2"/>
                </a:solidFill>
                <a:latin typeface="Alliance No.2"/>
              </a:rPr>
              <a:t> sit </a:t>
            </a:r>
            <a:r>
              <a:rPr lang="en-GB" sz="1200" spc="1" dirty="0" err="1">
                <a:solidFill>
                  <a:schemeClr val="tx2"/>
                </a:solidFill>
                <a:latin typeface="Alliance No.2"/>
              </a:rPr>
              <a:t>amet</a:t>
            </a:r>
            <a:r>
              <a:rPr lang="en-GB" sz="1200" spc="1" dirty="0">
                <a:solidFill>
                  <a:schemeClr val="tx2"/>
                </a:solidFill>
                <a:latin typeface="Alliance No.2"/>
              </a:rPr>
              <a:t>, </a:t>
            </a:r>
            <a:r>
              <a:rPr lang="en-GB" sz="1200" spc="1" dirty="0" err="1">
                <a:solidFill>
                  <a:schemeClr val="tx2"/>
                </a:solidFill>
                <a:latin typeface="Alliance No.2"/>
              </a:rPr>
              <a:t>consectetuer</a:t>
            </a:r>
            <a:r>
              <a:rPr lang="en-GB" sz="1200" spc="1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200" spc="1" dirty="0" err="1">
                <a:solidFill>
                  <a:schemeClr val="tx2"/>
                </a:solidFill>
                <a:latin typeface="Alliance No.2"/>
              </a:rPr>
              <a:t>elit</a:t>
            </a:r>
            <a:endParaRPr lang="en-GB" sz="1200" spc="1" dirty="0">
              <a:solidFill>
                <a:schemeClr val="tx2"/>
              </a:solidFill>
              <a:latin typeface="Alliance No.2"/>
            </a:endParaRPr>
          </a:p>
          <a:p>
            <a:pPr marL="9525" indent="168275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GB" sz="1200" spc="1" dirty="0">
                <a:solidFill>
                  <a:schemeClr val="tx2"/>
                </a:solidFill>
                <a:latin typeface="Alliance No.2"/>
              </a:rPr>
              <a:t>Lorem ipsum </a:t>
            </a:r>
            <a:r>
              <a:rPr lang="en-GB" sz="1200" spc="1" dirty="0" err="1">
                <a:solidFill>
                  <a:schemeClr val="tx2"/>
                </a:solidFill>
                <a:latin typeface="Alliance No.2"/>
              </a:rPr>
              <a:t>dolor</a:t>
            </a:r>
            <a:r>
              <a:rPr lang="en-GB" sz="1200" spc="1" dirty="0">
                <a:solidFill>
                  <a:schemeClr val="tx2"/>
                </a:solidFill>
                <a:latin typeface="Alliance No.2"/>
              </a:rPr>
              <a:t> sit </a:t>
            </a:r>
            <a:r>
              <a:rPr lang="en-GB" sz="1200" spc="1" dirty="0" err="1">
                <a:solidFill>
                  <a:schemeClr val="tx2"/>
                </a:solidFill>
                <a:latin typeface="Alliance No.2"/>
              </a:rPr>
              <a:t>amet</a:t>
            </a:r>
            <a:r>
              <a:rPr lang="en-GB" sz="1200" spc="1" dirty="0">
                <a:solidFill>
                  <a:schemeClr val="tx2"/>
                </a:solidFill>
                <a:latin typeface="Alliance No.2"/>
              </a:rPr>
              <a:t>, </a:t>
            </a:r>
            <a:r>
              <a:rPr lang="en-GB" sz="1200" spc="1" dirty="0" err="1">
                <a:solidFill>
                  <a:schemeClr val="tx2"/>
                </a:solidFill>
                <a:latin typeface="Alliance No.2"/>
              </a:rPr>
              <a:t>consectetuer</a:t>
            </a:r>
            <a:r>
              <a:rPr lang="en-GB" sz="1200" spc="1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200" spc="1" dirty="0" err="1">
                <a:solidFill>
                  <a:schemeClr val="tx2"/>
                </a:solidFill>
                <a:latin typeface="Alliance No.2"/>
              </a:rPr>
              <a:t>elit</a:t>
            </a:r>
            <a:endParaRPr lang="en-GB" sz="1200" spc="1" dirty="0">
              <a:solidFill>
                <a:schemeClr val="tx2"/>
              </a:solidFill>
              <a:latin typeface="Alliance No.2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6E1FD67-C8DA-6699-3A17-0CA62A9F16B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7656" y="9083985"/>
            <a:ext cx="176169" cy="155443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5149465" y="5524973"/>
            <a:ext cx="0" cy="4074795"/>
          </a:xfrm>
          <a:custGeom>
            <a:avLst/>
            <a:gdLst/>
            <a:ahLst/>
            <a:cxnLst/>
            <a:rect l="l" t="t" r="r" b="b"/>
            <a:pathLst>
              <a:path h="4074795">
                <a:moveTo>
                  <a:pt x="0" y="0"/>
                </a:moveTo>
                <a:lnTo>
                  <a:pt x="0" y="4074782"/>
                </a:lnTo>
              </a:path>
            </a:pathLst>
          </a:custGeom>
          <a:ln w="9525" cap="rnd">
            <a:solidFill>
              <a:srgbClr val="CACAC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0" y="0"/>
            <a:ext cx="7772400" cy="4773930"/>
          </a:xfrm>
          <a:custGeom>
            <a:avLst/>
            <a:gdLst/>
            <a:ahLst/>
            <a:cxnLst/>
            <a:rect l="l" t="t" r="r" b="b"/>
            <a:pathLst>
              <a:path w="7772400" h="4773930">
                <a:moveTo>
                  <a:pt x="7772400" y="0"/>
                </a:moveTo>
                <a:lnTo>
                  <a:pt x="0" y="0"/>
                </a:lnTo>
                <a:lnTo>
                  <a:pt x="0" y="4773866"/>
                </a:lnTo>
                <a:lnTo>
                  <a:pt x="7772400" y="4773866"/>
                </a:lnTo>
                <a:lnTo>
                  <a:pt x="7772400" y="0"/>
                </a:lnTo>
                <a:close/>
              </a:path>
            </a:pathLst>
          </a:custGeom>
          <a:solidFill>
            <a:srgbClr val="DFEFFC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8" name="object 8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466725" y="1388541"/>
            <a:ext cx="4605324" cy="3749141"/>
          </a:xfrm>
          <a:prstGeom prst="roundRect">
            <a:avLst>
              <a:gd name="adj" fmla="val 3741"/>
            </a:avLst>
          </a:prstGeom>
        </p:spPr>
      </p:pic>
      <p:pic>
        <p:nvPicPr>
          <p:cNvPr id="9" name="object 9"/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7775"/>
          <a:stretch/>
        </p:blipFill>
        <p:spPr>
          <a:xfrm>
            <a:off x="5197156" y="1388541"/>
            <a:ext cx="3032989" cy="3749141"/>
          </a:xfrm>
          <a:prstGeom prst="roundRect">
            <a:avLst>
              <a:gd name="adj" fmla="val 3741"/>
            </a:avLst>
          </a:prstGeom>
        </p:spPr>
      </p:pic>
      <p:sp>
        <p:nvSpPr>
          <p:cNvPr id="10" name="object 10"/>
          <p:cNvSpPr txBox="1"/>
          <p:nvPr/>
        </p:nvSpPr>
        <p:spPr>
          <a:xfrm>
            <a:off x="476796" y="5462258"/>
            <a:ext cx="4605323" cy="327466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 marR="5080">
              <a:lnSpc>
                <a:spcPts val="2430"/>
              </a:lnSpc>
              <a:spcBef>
                <a:spcPts val="254"/>
              </a:spcBef>
            </a:pPr>
            <a:r>
              <a:rPr sz="2000" spc="9" dirty="0">
                <a:solidFill>
                  <a:schemeClr val="accent2"/>
                </a:solidFill>
                <a:latin typeface="Alliance No.2 Medium" pitchFamily="50" charset="0"/>
              </a:rPr>
              <a:t>Lorem ipsum dolor sit </a:t>
            </a:r>
            <a:r>
              <a:rPr sz="2000" spc="9" dirty="0" err="1">
                <a:solidFill>
                  <a:schemeClr val="accent2"/>
                </a:solidFill>
                <a:latin typeface="Alliance No.2 Medium" pitchFamily="50" charset="0"/>
              </a:rPr>
              <a:t>amet</a:t>
            </a:r>
            <a:r>
              <a:rPr sz="2000" spc="9" dirty="0">
                <a:solidFill>
                  <a:schemeClr val="accent2"/>
                </a:solidFill>
                <a:latin typeface="Alliance No.2 Medium" pitchFamily="50" charset="0"/>
              </a:rPr>
              <a:t>, </a:t>
            </a:r>
            <a:r>
              <a:rPr sz="2000" spc="9" dirty="0" err="1">
                <a:solidFill>
                  <a:schemeClr val="accent2"/>
                </a:solidFill>
                <a:latin typeface="Alliance No.2 Medium" pitchFamily="50" charset="0"/>
              </a:rPr>
              <a:t>elit</a:t>
            </a:r>
            <a:r>
              <a:rPr sz="2000" spc="9" dirty="0">
                <a:solidFill>
                  <a:schemeClr val="accent2"/>
                </a:solidFill>
                <a:latin typeface="Alliance No.2 Medium" pitchFamily="50" charset="0"/>
              </a:rPr>
              <a:t>, </a:t>
            </a:r>
            <a:br>
              <a:rPr lang="en-GB" sz="2000" spc="9" dirty="0">
                <a:solidFill>
                  <a:schemeClr val="accent2"/>
                </a:solidFill>
                <a:latin typeface="Alliance No.2 Medium" pitchFamily="50" charset="0"/>
              </a:rPr>
            </a:br>
            <a:r>
              <a:rPr sz="2000" spc="9" dirty="0">
                <a:solidFill>
                  <a:schemeClr val="accent2"/>
                </a:solidFill>
                <a:latin typeface="Alliance No.2 Medium" pitchFamily="50" charset="0"/>
              </a:rPr>
              <a:t>sed diam </a:t>
            </a:r>
            <a:r>
              <a:rPr sz="2000" spc="9" dirty="0" err="1">
                <a:solidFill>
                  <a:schemeClr val="accent2"/>
                </a:solidFill>
                <a:latin typeface="Alliance No.2 Medium" pitchFamily="50" charset="0"/>
              </a:rPr>
              <a:t>nonummy</a:t>
            </a:r>
            <a:r>
              <a:rPr sz="2000" spc="9" dirty="0">
                <a:solidFill>
                  <a:schemeClr val="accent2"/>
                </a:solidFill>
                <a:latin typeface="Alliance No.2 Medium" pitchFamily="50" charset="0"/>
              </a:rPr>
              <a:t> </a:t>
            </a:r>
            <a:r>
              <a:rPr sz="2000" spc="9" dirty="0" err="1">
                <a:solidFill>
                  <a:schemeClr val="accent2"/>
                </a:solidFill>
                <a:latin typeface="Alliance No.2 Medium" pitchFamily="50" charset="0"/>
              </a:rPr>
              <a:t>nibh</a:t>
            </a:r>
            <a:r>
              <a:rPr sz="2000" spc="9" dirty="0">
                <a:solidFill>
                  <a:schemeClr val="accent2"/>
                </a:solidFill>
                <a:latin typeface="Alliance No.2 Medium" pitchFamily="50" charset="0"/>
              </a:rPr>
              <a:t> </a:t>
            </a:r>
            <a:r>
              <a:rPr sz="2000" spc="9" dirty="0" err="1">
                <a:solidFill>
                  <a:schemeClr val="accent2"/>
                </a:solidFill>
                <a:latin typeface="Alliance No.2 Medium" pitchFamily="50" charset="0"/>
              </a:rPr>
              <a:t>euismod</a:t>
            </a:r>
            <a:r>
              <a:rPr sz="2000" spc="9" dirty="0">
                <a:solidFill>
                  <a:schemeClr val="accent2"/>
                </a:solidFill>
                <a:latin typeface="Alliance No.2 Medium" pitchFamily="50" charset="0"/>
              </a:rPr>
              <a:t> </a:t>
            </a:r>
            <a:r>
              <a:rPr sz="2000" spc="9" dirty="0" err="1">
                <a:solidFill>
                  <a:schemeClr val="accent2"/>
                </a:solidFill>
                <a:latin typeface="Alliance No.2 Medium" pitchFamily="50" charset="0"/>
              </a:rPr>
              <a:t>tincidunt</a:t>
            </a:r>
            <a:r>
              <a:rPr sz="2000" spc="9" dirty="0">
                <a:solidFill>
                  <a:schemeClr val="accent2"/>
                </a:solidFill>
                <a:latin typeface="Alliance No.2 Medium" pitchFamily="50" charset="0"/>
              </a:rPr>
              <a:t> </a:t>
            </a:r>
            <a:r>
              <a:rPr sz="2000" spc="9" dirty="0" err="1">
                <a:solidFill>
                  <a:schemeClr val="accent2"/>
                </a:solidFill>
                <a:latin typeface="Alliance No.2 Medium" pitchFamily="50" charset="0"/>
              </a:rPr>
              <a:t>ut</a:t>
            </a:r>
            <a:r>
              <a:rPr sz="2000" spc="9" dirty="0">
                <a:solidFill>
                  <a:schemeClr val="accent2"/>
                </a:solidFill>
                <a:latin typeface="Alliance No.2 Medium" pitchFamily="50" charset="0"/>
              </a:rPr>
              <a:t> dolore magna.</a:t>
            </a:r>
            <a:endParaRPr lang="en-GB" sz="2000" spc="9" dirty="0">
              <a:solidFill>
                <a:schemeClr val="accent2"/>
              </a:solidFill>
              <a:latin typeface="Alliance No.2 Medium" pitchFamily="50" charset="0"/>
            </a:endParaRPr>
          </a:p>
          <a:p>
            <a:pPr marR="39370" lvl="0" indent="0" defTabSz="914400" eaLnBrk="1" fontAlgn="auto" latinLnBrk="0" hangingPunct="1">
              <a:lnSpc>
                <a:spcPct val="116700"/>
              </a:lnSpc>
              <a:spcBef>
                <a:spcPts val="145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dirty="0">
                <a:solidFill>
                  <a:schemeClr val="tx2"/>
                </a:solidFill>
                <a:latin typeface="Alliance No.2"/>
              </a:rPr>
              <a:t>Lorem ipsum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dolor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sit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amet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,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consectetuer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adipiscing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elit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,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sed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diam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nonummy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nibh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euismod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tincidunt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ut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laoreet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dolore magna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aliquam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erat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volutpat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. Ut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wisi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enim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ad minim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veniam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,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quis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nostrud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exerci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tation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ullamcorper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suscipit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lobortis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nisl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ut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aliquip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ex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ea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commodo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consequat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. Duis autem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vel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eum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iriure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dolor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in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hendrerit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in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vulputate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velit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esse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molestie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consequat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,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vel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illum dolore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eu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feugiat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nulla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facilisis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at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vero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eros et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accumsan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et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iusto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odio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dignissim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qui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blandit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praesent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luptatum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zzril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delenit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augue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duis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dolore te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feugait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nulla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ullamcorper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suscipit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lobortis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.</a:t>
            </a:r>
          </a:p>
          <a:p>
            <a:pPr marR="39370" lvl="0" indent="0" defTabSz="914400" eaLnBrk="1" fontAlgn="auto" latinLnBrk="0" hangingPunct="1">
              <a:lnSpc>
                <a:spcPct val="116700"/>
              </a:lnSpc>
              <a:spcBef>
                <a:spcPts val="145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000" dirty="0">
                <a:solidFill>
                  <a:schemeClr val="tx2"/>
                </a:solidFill>
                <a:latin typeface="Alliance No.2"/>
              </a:rPr>
              <a:t>Lorem ipsum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dolor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sit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amet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,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consectetuer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adipiscing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elit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,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sed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diam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nonummy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nibh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euismod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tincidunt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ut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laoreet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dolore magna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aliquam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.</a:t>
            </a:r>
            <a:endParaRPr sz="1000" dirty="0">
              <a:solidFill>
                <a:schemeClr val="tx2"/>
              </a:solidFill>
              <a:latin typeface="Alliance No.2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5416513" y="5742317"/>
            <a:ext cx="2029316" cy="213686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5080">
              <a:lnSpc>
                <a:spcPct val="129700"/>
              </a:lnSpc>
            </a:pPr>
            <a:r>
              <a:rPr sz="900" b="1" dirty="0">
                <a:solidFill>
                  <a:schemeClr val="tx2"/>
                </a:solidFill>
                <a:latin typeface="Alliance No.2" pitchFamily="2" charset="77"/>
              </a:rPr>
              <a:t>Ut </a:t>
            </a:r>
            <a:r>
              <a:rPr sz="900" b="1" dirty="0" err="1">
                <a:solidFill>
                  <a:schemeClr val="tx2"/>
                </a:solidFill>
                <a:latin typeface="Alliance No.2" pitchFamily="2" charset="77"/>
              </a:rPr>
              <a:t>wisi</a:t>
            </a:r>
            <a:r>
              <a:rPr sz="900" b="1" dirty="0">
                <a:solidFill>
                  <a:schemeClr val="tx2"/>
                </a:solidFill>
                <a:latin typeface="Alliance No.2" pitchFamily="2" charset="77"/>
              </a:rPr>
              <a:t> </a:t>
            </a:r>
            <a:r>
              <a:rPr sz="900" b="1" dirty="0" err="1">
                <a:solidFill>
                  <a:schemeClr val="tx2"/>
                </a:solidFill>
                <a:latin typeface="Alliance No.2" pitchFamily="2" charset="77"/>
              </a:rPr>
              <a:t>enim</a:t>
            </a:r>
            <a:r>
              <a:rPr sz="900" b="1" dirty="0">
                <a:solidFill>
                  <a:schemeClr val="tx2"/>
                </a:solidFill>
                <a:latin typeface="Alliance No.2" pitchFamily="2" charset="77"/>
              </a:rPr>
              <a:t> ad minim </a:t>
            </a:r>
            <a:r>
              <a:rPr sz="900" b="1" dirty="0" err="1">
                <a:solidFill>
                  <a:schemeClr val="tx2"/>
                </a:solidFill>
                <a:latin typeface="Alliance No.2" pitchFamily="2" charset="77"/>
              </a:rPr>
              <a:t>veniam</a:t>
            </a:r>
            <a:r>
              <a:rPr sz="900" b="1" dirty="0">
                <a:solidFill>
                  <a:schemeClr val="tx2"/>
                </a:solidFill>
                <a:latin typeface="Alliance No.2" pitchFamily="2" charset="77"/>
              </a:rPr>
              <a:t>, </a:t>
            </a:r>
            <a:r>
              <a:rPr sz="900" b="1" dirty="0" err="1">
                <a:solidFill>
                  <a:schemeClr val="tx2"/>
                </a:solidFill>
                <a:latin typeface="Alliance No.2" pitchFamily="2" charset="77"/>
              </a:rPr>
              <a:t>quis</a:t>
            </a:r>
            <a:r>
              <a:rPr sz="900" b="1" dirty="0">
                <a:solidFill>
                  <a:schemeClr val="tx2"/>
                </a:solidFill>
                <a:latin typeface="Alliance No.2" pitchFamily="2" charset="77"/>
              </a:rPr>
              <a:t> </a:t>
            </a:r>
            <a:r>
              <a:rPr sz="900" b="1" dirty="0" err="1">
                <a:solidFill>
                  <a:schemeClr val="tx2"/>
                </a:solidFill>
                <a:latin typeface="Alliance No.2" pitchFamily="2" charset="77"/>
              </a:rPr>
              <a:t>nostrud</a:t>
            </a:r>
            <a:r>
              <a:rPr sz="900" b="1" dirty="0">
                <a:solidFill>
                  <a:schemeClr val="tx2"/>
                </a:solidFill>
                <a:latin typeface="Alliance No.2" pitchFamily="2" charset="77"/>
              </a:rPr>
              <a:t> </a:t>
            </a:r>
            <a:r>
              <a:rPr sz="900" b="1" dirty="0" err="1">
                <a:solidFill>
                  <a:schemeClr val="tx2"/>
                </a:solidFill>
                <a:latin typeface="Alliance No.2" pitchFamily="2" charset="77"/>
              </a:rPr>
              <a:t>exerci</a:t>
            </a:r>
            <a:r>
              <a:rPr sz="900" b="1" dirty="0">
                <a:solidFill>
                  <a:schemeClr val="tx2"/>
                </a:solidFill>
                <a:latin typeface="Alliance No.2" pitchFamily="2" charset="77"/>
              </a:rPr>
              <a:t> </a:t>
            </a:r>
            <a:r>
              <a:rPr sz="900" b="1" dirty="0" err="1">
                <a:solidFill>
                  <a:schemeClr val="tx2"/>
                </a:solidFill>
                <a:latin typeface="Alliance No.2" pitchFamily="2" charset="77"/>
              </a:rPr>
              <a:t>tation</a:t>
            </a:r>
            <a:r>
              <a:rPr sz="900" b="1" dirty="0">
                <a:solidFill>
                  <a:schemeClr val="tx2"/>
                </a:solidFill>
                <a:latin typeface="Alliance No.2" pitchFamily="2" charset="77"/>
              </a:rPr>
              <a:t> </a:t>
            </a:r>
            <a:r>
              <a:rPr sz="900" b="1" dirty="0" err="1">
                <a:solidFill>
                  <a:schemeClr val="tx2"/>
                </a:solidFill>
                <a:latin typeface="Alliance No.2" pitchFamily="2" charset="77"/>
              </a:rPr>
              <a:t>ullamcorper</a:t>
            </a:r>
            <a:r>
              <a:rPr sz="900" b="1" dirty="0">
                <a:solidFill>
                  <a:schemeClr val="tx2"/>
                </a:solidFill>
                <a:latin typeface="Alliance No.2" pitchFamily="2" charset="77"/>
              </a:rPr>
              <a:t> </a:t>
            </a:r>
            <a:r>
              <a:rPr sz="900" b="1" dirty="0" err="1">
                <a:solidFill>
                  <a:schemeClr val="tx2"/>
                </a:solidFill>
                <a:latin typeface="Alliance No.2" pitchFamily="2" charset="77"/>
              </a:rPr>
              <a:t>suscipit</a:t>
            </a:r>
            <a:r>
              <a:rPr sz="900" b="1" dirty="0">
                <a:solidFill>
                  <a:schemeClr val="tx2"/>
                </a:solidFill>
                <a:latin typeface="Alliance No.2" pitchFamily="2" charset="77"/>
              </a:rPr>
              <a:t> </a:t>
            </a:r>
            <a:r>
              <a:rPr sz="900" b="1" dirty="0" err="1">
                <a:solidFill>
                  <a:schemeClr val="tx2"/>
                </a:solidFill>
                <a:latin typeface="Alliance No.2" pitchFamily="2" charset="77"/>
              </a:rPr>
              <a:t>lobortis</a:t>
            </a:r>
            <a:r>
              <a:rPr sz="900" b="1" dirty="0">
                <a:solidFill>
                  <a:schemeClr val="tx2"/>
                </a:solidFill>
                <a:latin typeface="Alliance No.2" pitchFamily="2" charset="77"/>
              </a:rPr>
              <a:t> </a:t>
            </a:r>
            <a:r>
              <a:rPr sz="900" b="1" dirty="0" err="1">
                <a:solidFill>
                  <a:schemeClr val="tx2"/>
                </a:solidFill>
                <a:latin typeface="Alliance No.2" pitchFamily="2" charset="77"/>
              </a:rPr>
              <a:t>nisl</a:t>
            </a:r>
            <a:r>
              <a:rPr sz="900" b="1" dirty="0">
                <a:solidFill>
                  <a:schemeClr val="tx2"/>
                </a:solidFill>
                <a:latin typeface="Alliance No.2" pitchFamily="2" charset="77"/>
              </a:rPr>
              <a:t> </a:t>
            </a:r>
            <a:r>
              <a:rPr sz="900" b="1" dirty="0" err="1">
                <a:solidFill>
                  <a:schemeClr val="tx2"/>
                </a:solidFill>
                <a:latin typeface="Alliance No.2" pitchFamily="2" charset="77"/>
              </a:rPr>
              <a:t>ut</a:t>
            </a:r>
            <a:r>
              <a:rPr sz="900" b="1" dirty="0">
                <a:solidFill>
                  <a:schemeClr val="tx2"/>
                </a:solidFill>
                <a:latin typeface="Alliance No.2" pitchFamily="2" charset="77"/>
              </a:rPr>
              <a:t> </a:t>
            </a:r>
            <a:r>
              <a:rPr sz="900" b="1" dirty="0" err="1">
                <a:solidFill>
                  <a:schemeClr val="tx2"/>
                </a:solidFill>
                <a:latin typeface="Alliance No.2" pitchFamily="2" charset="77"/>
              </a:rPr>
              <a:t>aliquip</a:t>
            </a:r>
            <a:r>
              <a:rPr sz="900" b="1" dirty="0">
                <a:solidFill>
                  <a:schemeClr val="tx2"/>
                </a:solidFill>
                <a:latin typeface="Alliance No.2" pitchFamily="2" charset="77"/>
              </a:rPr>
              <a:t> ex </a:t>
            </a:r>
            <a:r>
              <a:rPr sz="900" b="1" dirty="0" err="1">
                <a:solidFill>
                  <a:schemeClr val="tx2"/>
                </a:solidFill>
                <a:latin typeface="Alliance No.2" pitchFamily="2" charset="77"/>
              </a:rPr>
              <a:t>ea</a:t>
            </a:r>
            <a:r>
              <a:rPr sz="900" b="1" dirty="0">
                <a:solidFill>
                  <a:schemeClr val="tx2"/>
                </a:solidFill>
                <a:latin typeface="Alliance No.2" pitchFamily="2" charset="77"/>
              </a:rPr>
              <a:t> </a:t>
            </a:r>
            <a:r>
              <a:rPr sz="900" b="1" dirty="0" err="1">
                <a:solidFill>
                  <a:schemeClr val="tx2"/>
                </a:solidFill>
                <a:latin typeface="Alliance No.2" pitchFamily="2" charset="77"/>
              </a:rPr>
              <a:t>commodo</a:t>
            </a:r>
            <a:r>
              <a:rPr sz="900" b="1" dirty="0">
                <a:solidFill>
                  <a:schemeClr val="tx2"/>
                </a:solidFill>
                <a:latin typeface="Alliance No.2" pitchFamily="2" charset="77"/>
              </a:rPr>
              <a:t> </a:t>
            </a:r>
            <a:r>
              <a:rPr sz="900" b="1" dirty="0" err="1">
                <a:solidFill>
                  <a:schemeClr val="tx2"/>
                </a:solidFill>
                <a:latin typeface="Alliance No.2" pitchFamily="2" charset="77"/>
              </a:rPr>
              <a:t>consequat</a:t>
            </a:r>
            <a:r>
              <a:rPr sz="900" b="1" dirty="0">
                <a:solidFill>
                  <a:schemeClr val="tx2"/>
                </a:solidFill>
                <a:latin typeface="Alliance No.2" pitchFamily="2" charset="77"/>
              </a:rPr>
              <a:t>. Duis autem vel </a:t>
            </a:r>
            <a:r>
              <a:rPr sz="900" b="1" dirty="0" err="1">
                <a:solidFill>
                  <a:schemeClr val="tx2"/>
                </a:solidFill>
                <a:latin typeface="Alliance No.2" pitchFamily="2" charset="77"/>
              </a:rPr>
              <a:t>eum</a:t>
            </a:r>
            <a:r>
              <a:rPr sz="900" b="1" dirty="0">
                <a:solidFill>
                  <a:schemeClr val="tx2"/>
                </a:solidFill>
                <a:latin typeface="Alliance No.2" pitchFamily="2" charset="77"/>
              </a:rPr>
              <a:t> </a:t>
            </a:r>
            <a:r>
              <a:rPr sz="900" b="1" dirty="0" err="1">
                <a:solidFill>
                  <a:schemeClr val="tx2"/>
                </a:solidFill>
                <a:latin typeface="Alliance No.2" pitchFamily="2" charset="77"/>
              </a:rPr>
              <a:t>iriure</a:t>
            </a:r>
            <a:r>
              <a:rPr sz="900" b="1" dirty="0">
                <a:solidFill>
                  <a:schemeClr val="tx2"/>
                </a:solidFill>
                <a:latin typeface="Alliance No.2" pitchFamily="2" charset="77"/>
              </a:rPr>
              <a:t> dolor in </a:t>
            </a:r>
            <a:r>
              <a:rPr sz="900" b="1" dirty="0" err="1">
                <a:solidFill>
                  <a:schemeClr val="tx2"/>
                </a:solidFill>
                <a:latin typeface="Alliance No.2" pitchFamily="2" charset="77"/>
              </a:rPr>
              <a:t>hendrerit</a:t>
            </a:r>
            <a:r>
              <a:rPr sz="900" b="1" dirty="0">
                <a:solidFill>
                  <a:schemeClr val="tx2"/>
                </a:solidFill>
                <a:latin typeface="Alliance No.2" pitchFamily="2" charset="77"/>
              </a:rPr>
              <a:t> in </a:t>
            </a:r>
            <a:r>
              <a:rPr sz="900" b="1" dirty="0" err="1">
                <a:solidFill>
                  <a:schemeClr val="tx2"/>
                </a:solidFill>
                <a:latin typeface="Alliance No.2" pitchFamily="2" charset="77"/>
              </a:rPr>
              <a:t>vulputate</a:t>
            </a:r>
            <a:r>
              <a:rPr sz="900" b="1" dirty="0">
                <a:solidFill>
                  <a:schemeClr val="tx2"/>
                </a:solidFill>
                <a:latin typeface="Alliance No.2" pitchFamily="2" charset="77"/>
              </a:rPr>
              <a:t> </a:t>
            </a:r>
            <a:r>
              <a:rPr sz="900" b="1" dirty="0" err="1">
                <a:solidFill>
                  <a:schemeClr val="tx2"/>
                </a:solidFill>
                <a:latin typeface="Alliance No.2" pitchFamily="2" charset="77"/>
              </a:rPr>
              <a:t>velit</a:t>
            </a:r>
            <a:r>
              <a:rPr sz="900" b="1" dirty="0">
                <a:solidFill>
                  <a:schemeClr val="tx2"/>
                </a:solidFill>
                <a:latin typeface="Alliance No.2" pitchFamily="2" charset="77"/>
              </a:rPr>
              <a:t> </a:t>
            </a:r>
            <a:r>
              <a:rPr sz="900" b="1" dirty="0" err="1">
                <a:solidFill>
                  <a:schemeClr val="tx2"/>
                </a:solidFill>
                <a:latin typeface="Alliance No.2" pitchFamily="2" charset="77"/>
              </a:rPr>
              <a:t>esse</a:t>
            </a:r>
            <a:r>
              <a:rPr sz="900" b="1" dirty="0">
                <a:solidFill>
                  <a:schemeClr val="tx2"/>
                </a:solidFill>
                <a:latin typeface="Alliance No.2" pitchFamily="2" charset="77"/>
              </a:rPr>
              <a:t> </a:t>
            </a:r>
            <a:r>
              <a:rPr sz="900" b="1" dirty="0" err="1">
                <a:solidFill>
                  <a:schemeClr val="tx2"/>
                </a:solidFill>
                <a:latin typeface="Alliance No.2" pitchFamily="2" charset="77"/>
              </a:rPr>
              <a:t>molestie</a:t>
            </a:r>
            <a:r>
              <a:rPr sz="900" b="1" dirty="0">
                <a:solidFill>
                  <a:schemeClr val="tx2"/>
                </a:solidFill>
                <a:latin typeface="Alliance No.2" pitchFamily="2" charset="77"/>
              </a:rPr>
              <a:t> </a:t>
            </a:r>
            <a:r>
              <a:rPr sz="900" b="1" dirty="0" err="1">
                <a:solidFill>
                  <a:schemeClr val="tx2"/>
                </a:solidFill>
                <a:latin typeface="Alliance No.2" pitchFamily="2" charset="77"/>
              </a:rPr>
              <a:t>consequat</a:t>
            </a:r>
            <a:r>
              <a:rPr sz="900" b="1" dirty="0">
                <a:solidFill>
                  <a:schemeClr val="tx2"/>
                </a:solidFill>
                <a:latin typeface="Alliance No.2" pitchFamily="2" charset="77"/>
              </a:rPr>
              <a:t>, vel illum dolore </a:t>
            </a:r>
            <a:r>
              <a:rPr sz="900" b="1" dirty="0" err="1">
                <a:solidFill>
                  <a:schemeClr val="tx2"/>
                </a:solidFill>
                <a:latin typeface="Alliance No.2" pitchFamily="2" charset="77"/>
              </a:rPr>
              <a:t>eu</a:t>
            </a:r>
            <a:r>
              <a:rPr sz="900" b="1" dirty="0">
                <a:solidFill>
                  <a:schemeClr val="tx2"/>
                </a:solidFill>
                <a:latin typeface="Alliance No.2" pitchFamily="2" charset="77"/>
              </a:rPr>
              <a:t> </a:t>
            </a:r>
            <a:r>
              <a:rPr sz="900" b="1" dirty="0" err="1">
                <a:solidFill>
                  <a:schemeClr val="tx2"/>
                </a:solidFill>
                <a:latin typeface="Alliance No.2" pitchFamily="2" charset="77"/>
              </a:rPr>
              <a:t>feugiat</a:t>
            </a:r>
            <a:r>
              <a:rPr sz="900" b="1" dirty="0">
                <a:solidFill>
                  <a:schemeClr val="tx2"/>
                </a:solidFill>
                <a:latin typeface="Alliance No.2" pitchFamily="2" charset="77"/>
              </a:rPr>
              <a:t> </a:t>
            </a:r>
            <a:r>
              <a:rPr sz="900" b="1" dirty="0" err="1">
                <a:solidFill>
                  <a:schemeClr val="tx2"/>
                </a:solidFill>
                <a:latin typeface="Alliance No.2" pitchFamily="2" charset="77"/>
              </a:rPr>
              <a:t>nulla</a:t>
            </a:r>
            <a:r>
              <a:rPr sz="900" b="1" dirty="0">
                <a:solidFill>
                  <a:schemeClr val="tx2"/>
                </a:solidFill>
                <a:latin typeface="Alliance No.2" pitchFamily="2" charset="77"/>
              </a:rPr>
              <a:t> </a:t>
            </a:r>
            <a:r>
              <a:rPr sz="900" b="1" dirty="0" err="1">
                <a:solidFill>
                  <a:schemeClr val="tx2"/>
                </a:solidFill>
                <a:latin typeface="Alliance No.2" pitchFamily="2" charset="77"/>
              </a:rPr>
              <a:t>facilisis</a:t>
            </a:r>
            <a:r>
              <a:rPr sz="900" b="1" dirty="0">
                <a:solidFill>
                  <a:schemeClr val="tx2"/>
                </a:solidFill>
                <a:latin typeface="Alliance No.2" pitchFamily="2" charset="77"/>
              </a:rPr>
              <a:t> at </a:t>
            </a:r>
            <a:r>
              <a:rPr sz="900" b="1" dirty="0" err="1">
                <a:solidFill>
                  <a:schemeClr val="tx2"/>
                </a:solidFill>
                <a:latin typeface="Alliance No.2" pitchFamily="2" charset="77"/>
              </a:rPr>
              <a:t>vero</a:t>
            </a:r>
            <a:r>
              <a:rPr sz="900" b="1" dirty="0">
                <a:solidFill>
                  <a:schemeClr val="tx2"/>
                </a:solidFill>
                <a:latin typeface="Alliance No.2" pitchFamily="2" charset="77"/>
              </a:rPr>
              <a:t> eros et </a:t>
            </a:r>
            <a:r>
              <a:rPr sz="900" b="1" dirty="0" err="1">
                <a:solidFill>
                  <a:schemeClr val="tx2"/>
                </a:solidFill>
                <a:latin typeface="Alliance No.2" pitchFamily="2" charset="77"/>
              </a:rPr>
              <a:t>accumsan</a:t>
            </a:r>
            <a:r>
              <a:rPr sz="900" b="1" dirty="0">
                <a:solidFill>
                  <a:schemeClr val="tx2"/>
                </a:solidFill>
                <a:latin typeface="Alliance No.2" pitchFamily="2" charset="77"/>
              </a:rPr>
              <a:t> et </a:t>
            </a:r>
            <a:r>
              <a:rPr sz="900" b="1" dirty="0" err="1">
                <a:solidFill>
                  <a:schemeClr val="tx2"/>
                </a:solidFill>
                <a:latin typeface="Alliance No.2" pitchFamily="2" charset="77"/>
              </a:rPr>
              <a:t>iusto</a:t>
            </a:r>
            <a:r>
              <a:rPr sz="900" b="1" dirty="0">
                <a:solidFill>
                  <a:schemeClr val="tx2"/>
                </a:solidFill>
                <a:latin typeface="Alliance No.2" pitchFamily="2" charset="77"/>
              </a:rPr>
              <a:t> </a:t>
            </a:r>
            <a:r>
              <a:rPr sz="900" b="1" dirty="0" err="1">
                <a:solidFill>
                  <a:schemeClr val="tx2"/>
                </a:solidFill>
                <a:latin typeface="Alliance No.2" pitchFamily="2" charset="77"/>
              </a:rPr>
              <a:t>odio</a:t>
            </a:r>
            <a:r>
              <a:rPr sz="900" b="1" dirty="0">
                <a:solidFill>
                  <a:schemeClr val="tx2"/>
                </a:solidFill>
                <a:latin typeface="Alliance No.2" pitchFamily="2" charset="77"/>
              </a:rPr>
              <a:t> </a:t>
            </a:r>
            <a:r>
              <a:rPr sz="900" b="1" dirty="0" err="1">
                <a:solidFill>
                  <a:schemeClr val="tx2"/>
                </a:solidFill>
                <a:latin typeface="Alliance No.2" pitchFamily="2" charset="77"/>
              </a:rPr>
              <a:t>dignissim</a:t>
            </a:r>
            <a:r>
              <a:rPr sz="900" b="1" dirty="0">
                <a:solidFill>
                  <a:schemeClr val="tx2"/>
                </a:solidFill>
                <a:latin typeface="Alliance No.2" pitchFamily="2" charset="77"/>
              </a:rPr>
              <a:t> qui </a:t>
            </a:r>
            <a:r>
              <a:rPr sz="900" b="1" dirty="0" err="1">
                <a:solidFill>
                  <a:schemeClr val="tx2"/>
                </a:solidFill>
                <a:latin typeface="Alliance No.2" pitchFamily="2" charset="77"/>
              </a:rPr>
              <a:t>blandit</a:t>
            </a:r>
            <a:r>
              <a:rPr sz="900" b="1" dirty="0">
                <a:solidFill>
                  <a:schemeClr val="tx2"/>
                </a:solidFill>
                <a:latin typeface="Alliance No.2" pitchFamily="2" charset="77"/>
              </a:rPr>
              <a:t> </a:t>
            </a:r>
            <a:r>
              <a:rPr sz="900" b="1" dirty="0" err="1">
                <a:solidFill>
                  <a:schemeClr val="tx2"/>
                </a:solidFill>
                <a:latin typeface="Alliance No.2" pitchFamily="2" charset="77"/>
              </a:rPr>
              <a:t>praesent</a:t>
            </a:r>
            <a:r>
              <a:rPr sz="900" b="1" dirty="0">
                <a:solidFill>
                  <a:schemeClr val="tx2"/>
                </a:solidFill>
                <a:latin typeface="Alliance No.2" pitchFamily="2" charset="77"/>
              </a:rPr>
              <a:t> </a:t>
            </a:r>
            <a:r>
              <a:rPr sz="900" b="1" dirty="0" err="1">
                <a:solidFill>
                  <a:schemeClr val="tx2"/>
                </a:solidFill>
                <a:latin typeface="Alliance No.2" pitchFamily="2" charset="77"/>
              </a:rPr>
              <a:t>luptatum</a:t>
            </a:r>
            <a:r>
              <a:rPr sz="900" b="1" dirty="0">
                <a:solidFill>
                  <a:schemeClr val="tx2"/>
                </a:solidFill>
                <a:latin typeface="Alliance No.2" pitchFamily="2" charset="77"/>
              </a:rPr>
              <a:t> </a:t>
            </a:r>
            <a:r>
              <a:rPr sz="900" b="1" dirty="0" err="1">
                <a:solidFill>
                  <a:schemeClr val="tx2"/>
                </a:solidFill>
                <a:latin typeface="Alliance No.2" pitchFamily="2" charset="77"/>
              </a:rPr>
              <a:t>zzril</a:t>
            </a:r>
            <a:r>
              <a:rPr sz="900" b="1" dirty="0">
                <a:solidFill>
                  <a:schemeClr val="tx2"/>
                </a:solidFill>
                <a:latin typeface="Alliance No.2" pitchFamily="2" charset="77"/>
              </a:rPr>
              <a:t> </a:t>
            </a:r>
            <a:r>
              <a:rPr sz="900" b="1" dirty="0" err="1">
                <a:solidFill>
                  <a:schemeClr val="tx2"/>
                </a:solidFill>
                <a:latin typeface="Alliance No.2" pitchFamily="2" charset="77"/>
              </a:rPr>
              <a:t>delenit</a:t>
            </a:r>
            <a:r>
              <a:rPr sz="900" b="1" dirty="0">
                <a:solidFill>
                  <a:schemeClr val="tx2"/>
                </a:solidFill>
                <a:latin typeface="Alliance No.2" pitchFamily="2" charset="77"/>
              </a:rPr>
              <a:t> </a:t>
            </a:r>
            <a:r>
              <a:rPr sz="900" b="1" dirty="0" err="1">
                <a:solidFill>
                  <a:schemeClr val="tx2"/>
                </a:solidFill>
                <a:latin typeface="Alliance No.2" pitchFamily="2" charset="77"/>
              </a:rPr>
              <a:t>augue</a:t>
            </a:r>
            <a:r>
              <a:rPr sz="900" b="1" dirty="0">
                <a:solidFill>
                  <a:schemeClr val="tx2"/>
                </a:solidFill>
                <a:latin typeface="Alliance No.2" pitchFamily="2" charset="77"/>
              </a:rPr>
              <a:t> </a:t>
            </a:r>
            <a:r>
              <a:rPr sz="900" b="1" dirty="0" err="1">
                <a:solidFill>
                  <a:schemeClr val="tx2"/>
                </a:solidFill>
                <a:latin typeface="Alliance No.2" pitchFamily="2" charset="77"/>
              </a:rPr>
              <a:t>duis</a:t>
            </a:r>
            <a:r>
              <a:rPr sz="900" b="1" dirty="0">
                <a:solidFill>
                  <a:schemeClr val="tx2"/>
                </a:solidFill>
                <a:latin typeface="Alliance No.2" pitchFamily="2" charset="77"/>
              </a:rPr>
              <a:t> dolore te </a:t>
            </a:r>
            <a:r>
              <a:rPr sz="900" b="1" dirty="0" err="1">
                <a:solidFill>
                  <a:schemeClr val="tx2"/>
                </a:solidFill>
                <a:latin typeface="Alliance No.2" pitchFamily="2" charset="77"/>
              </a:rPr>
              <a:t>feugait</a:t>
            </a:r>
            <a:r>
              <a:rPr sz="900" b="1" dirty="0">
                <a:solidFill>
                  <a:schemeClr val="tx2"/>
                </a:solidFill>
                <a:latin typeface="Alliance No.2" pitchFamily="2" charset="77"/>
              </a:rPr>
              <a:t> </a:t>
            </a:r>
            <a:r>
              <a:rPr sz="900" b="1" dirty="0" err="1">
                <a:solidFill>
                  <a:schemeClr val="tx2"/>
                </a:solidFill>
                <a:latin typeface="Alliance No.2" pitchFamily="2" charset="77"/>
              </a:rPr>
              <a:t>nulla</a:t>
            </a:r>
            <a:r>
              <a:rPr sz="900" b="1" dirty="0">
                <a:solidFill>
                  <a:schemeClr val="tx2"/>
                </a:solidFill>
                <a:latin typeface="Alliance No.2" pitchFamily="2" charset="77"/>
              </a:rPr>
              <a:t> </a:t>
            </a:r>
            <a:r>
              <a:rPr sz="900" b="1" dirty="0" err="1">
                <a:solidFill>
                  <a:schemeClr val="tx2"/>
                </a:solidFill>
                <a:latin typeface="Alliance No.2" pitchFamily="2" charset="77"/>
              </a:rPr>
              <a:t>ullamcorper</a:t>
            </a:r>
            <a:r>
              <a:rPr sz="900" b="1" dirty="0">
                <a:solidFill>
                  <a:schemeClr val="tx2"/>
                </a:solidFill>
                <a:latin typeface="Alliance No.2" pitchFamily="2" charset="77"/>
              </a:rPr>
              <a:t> </a:t>
            </a:r>
            <a:r>
              <a:rPr sz="900" b="1" dirty="0" err="1">
                <a:solidFill>
                  <a:schemeClr val="tx2"/>
                </a:solidFill>
                <a:latin typeface="Alliance No.2" pitchFamily="2" charset="77"/>
              </a:rPr>
              <a:t>suscipit</a:t>
            </a:r>
            <a:r>
              <a:rPr sz="900" b="1" dirty="0">
                <a:solidFill>
                  <a:schemeClr val="tx2"/>
                </a:solidFill>
                <a:latin typeface="Alliance No.2" pitchFamily="2" charset="77"/>
              </a:rPr>
              <a:t> </a:t>
            </a:r>
            <a:r>
              <a:rPr sz="900" b="1" dirty="0" err="1">
                <a:solidFill>
                  <a:schemeClr val="tx2"/>
                </a:solidFill>
                <a:latin typeface="Alliance No.2" pitchFamily="2" charset="77"/>
              </a:rPr>
              <a:t>lobortis</a:t>
            </a:r>
            <a:r>
              <a:rPr sz="900" b="1" dirty="0">
                <a:solidFill>
                  <a:schemeClr val="tx2"/>
                </a:solidFill>
                <a:latin typeface="Alliance No.2" pitchFamily="2" charset="77"/>
              </a:rPr>
              <a:t>.</a:t>
            </a:r>
          </a:p>
        </p:txBody>
      </p:sp>
      <p:sp>
        <p:nvSpPr>
          <p:cNvPr id="14" name="object 14"/>
          <p:cNvSpPr txBox="1"/>
          <p:nvPr/>
        </p:nvSpPr>
        <p:spPr>
          <a:xfrm>
            <a:off x="650628" y="9114966"/>
            <a:ext cx="2778372" cy="412934"/>
          </a:xfrm>
          <a:prstGeom prst="rect">
            <a:avLst/>
          </a:prstGeom>
        </p:spPr>
        <p:txBody>
          <a:bodyPr vert="horz" wrap="square" lIns="10800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300" dirty="0">
                <a:solidFill>
                  <a:schemeClr val="accent2"/>
                </a:solidFill>
                <a:latin typeface="Alliance No.2"/>
                <a:cs typeface="Alliance No.2"/>
              </a:rPr>
              <a:t>For</a:t>
            </a:r>
            <a:r>
              <a:rPr sz="1300" spc="-20" dirty="0">
                <a:solidFill>
                  <a:schemeClr val="accent2"/>
                </a:solidFill>
                <a:latin typeface="Alliance No.2"/>
                <a:cs typeface="Alliance No.2"/>
              </a:rPr>
              <a:t> </a:t>
            </a:r>
            <a:r>
              <a:rPr sz="1300" dirty="0">
                <a:solidFill>
                  <a:schemeClr val="accent2"/>
                </a:solidFill>
                <a:latin typeface="Alliance No.2"/>
                <a:cs typeface="Alliance No.2"/>
              </a:rPr>
              <a:t>more</a:t>
            </a:r>
            <a:r>
              <a:rPr sz="1300" spc="-15" dirty="0">
                <a:solidFill>
                  <a:schemeClr val="accent2"/>
                </a:solidFill>
                <a:latin typeface="Alliance No.2"/>
                <a:cs typeface="Alliance No.2"/>
              </a:rPr>
              <a:t> </a:t>
            </a:r>
            <a:r>
              <a:rPr sz="1300" spc="-10" dirty="0">
                <a:solidFill>
                  <a:schemeClr val="accent2"/>
                </a:solidFill>
                <a:latin typeface="Alliance No.2"/>
                <a:cs typeface="Alliance No.2"/>
              </a:rPr>
              <a:t>information</a:t>
            </a:r>
            <a:r>
              <a:rPr sz="1300" spc="-20" dirty="0">
                <a:solidFill>
                  <a:schemeClr val="accent2"/>
                </a:solidFill>
                <a:latin typeface="Alliance No.2"/>
                <a:cs typeface="Alliance No.2"/>
              </a:rPr>
              <a:t> </a:t>
            </a:r>
            <a:r>
              <a:rPr sz="1300" dirty="0">
                <a:solidFill>
                  <a:schemeClr val="accent2"/>
                </a:solidFill>
                <a:latin typeface="Alliance No.2"/>
                <a:cs typeface="Alliance No.2"/>
              </a:rPr>
              <a:t>register</a:t>
            </a:r>
            <a:r>
              <a:rPr sz="1300" spc="-15" dirty="0">
                <a:solidFill>
                  <a:schemeClr val="accent2"/>
                </a:solidFill>
                <a:latin typeface="Alliance No.2"/>
                <a:cs typeface="Alliance No.2"/>
              </a:rPr>
              <a:t> </a:t>
            </a:r>
            <a:r>
              <a:rPr sz="1300" spc="-25" dirty="0">
                <a:solidFill>
                  <a:schemeClr val="accent2"/>
                </a:solidFill>
                <a:latin typeface="Alliance No.2"/>
                <a:cs typeface="Alliance No.2"/>
              </a:rPr>
              <a:t>at:</a:t>
            </a:r>
            <a:endParaRPr sz="1300" dirty="0">
              <a:solidFill>
                <a:schemeClr val="accent2"/>
              </a:solidFill>
              <a:latin typeface="Alliance No.2"/>
              <a:cs typeface="Alliance No.2"/>
            </a:endParaRPr>
          </a:p>
          <a:p>
            <a:pPr marL="12700">
              <a:lnSpc>
                <a:spcPct val="100000"/>
              </a:lnSpc>
              <a:spcBef>
                <a:spcPts val="40"/>
              </a:spcBef>
            </a:pPr>
            <a:r>
              <a:rPr sz="1300" b="1" u="sng" spc="-10" dirty="0">
                <a:solidFill>
                  <a:schemeClr val="accent2"/>
                </a:solidFill>
                <a:uFill>
                  <a:solidFill>
                    <a:srgbClr val="1E7DED"/>
                  </a:solidFill>
                </a:uFill>
                <a:latin typeface="Alliance No.2"/>
                <a:cs typeface="Alliance No.2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ohnsmith@spacecenter.org</a:t>
            </a:r>
            <a:endParaRPr sz="1300" dirty="0">
              <a:solidFill>
                <a:schemeClr val="accent2"/>
              </a:solidFill>
              <a:latin typeface="Alliance No.2"/>
              <a:cs typeface="Alliance No.2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5416513" y="5550949"/>
            <a:ext cx="290195" cy="0"/>
          </a:xfrm>
          <a:custGeom>
            <a:avLst/>
            <a:gdLst/>
            <a:ahLst/>
            <a:cxnLst/>
            <a:rect l="l" t="t" r="r" b="b"/>
            <a:pathLst>
              <a:path w="290195">
                <a:moveTo>
                  <a:pt x="0" y="0"/>
                </a:moveTo>
                <a:lnTo>
                  <a:pt x="289877" y="0"/>
                </a:lnTo>
              </a:path>
            </a:pathLst>
          </a:custGeom>
          <a:ln w="38100">
            <a:solidFill>
              <a:srgbClr val="1E7DE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366E8B73-6670-C3E7-6CC6-ABFB8FD0F4BC}"/>
              </a:ext>
            </a:extLst>
          </p:cNvPr>
          <p:cNvGrpSpPr/>
          <p:nvPr/>
        </p:nvGrpSpPr>
        <p:grpSpPr>
          <a:xfrm>
            <a:off x="458587" y="450000"/>
            <a:ext cx="1237157" cy="548875"/>
            <a:chOff x="458587" y="458194"/>
            <a:chExt cx="1237157" cy="548875"/>
          </a:xfrm>
        </p:grpSpPr>
        <p:pic>
          <p:nvPicPr>
            <p:cNvPr id="27" name="object 208">
              <a:extLst>
                <a:ext uri="{FF2B5EF4-FFF2-40B4-BE49-F238E27FC236}">
                  <a16:creationId xmlns:a16="http://schemas.microsoft.com/office/drawing/2014/main" id="{DD2896DA-A967-078B-1CA0-BB46ADD778C1}"/>
                </a:ext>
              </a:extLst>
            </p:cNvPr>
            <p:cNvPicPr/>
            <p:nvPr>
              <p:custDataLst>
                <p:tags r:id="rId3"/>
              </p:custDataLst>
            </p:nvPr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86090" y="477666"/>
              <a:ext cx="809654" cy="529403"/>
            </a:xfrm>
            <a:prstGeom prst="rect">
              <a:avLst/>
            </a:prstGeom>
          </p:spPr>
        </p:pic>
        <p:grpSp>
          <p:nvGrpSpPr>
            <p:cNvPr id="28" name="object 209">
              <a:extLst>
                <a:ext uri="{FF2B5EF4-FFF2-40B4-BE49-F238E27FC236}">
                  <a16:creationId xmlns:a16="http://schemas.microsoft.com/office/drawing/2014/main" id="{C619C6C8-6E3F-2D41-DF9B-7DE2109657A6}"/>
                </a:ext>
              </a:extLst>
            </p:cNvPr>
            <p:cNvGrpSpPr/>
            <p:nvPr/>
          </p:nvGrpSpPr>
          <p:grpSpPr>
            <a:xfrm>
              <a:off x="458587" y="458194"/>
              <a:ext cx="353695" cy="383540"/>
              <a:chOff x="458587" y="458194"/>
              <a:chExt cx="353695" cy="383540"/>
            </a:xfrm>
          </p:grpSpPr>
          <p:pic>
            <p:nvPicPr>
              <p:cNvPr id="29" name="object 210">
                <a:extLst>
                  <a:ext uri="{FF2B5EF4-FFF2-40B4-BE49-F238E27FC236}">
                    <a16:creationId xmlns:a16="http://schemas.microsoft.com/office/drawing/2014/main" id="{FC9E5BBC-9FA7-BD10-6D08-AB402CC59608}"/>
                  </a:ext>
                </a:extLst>
              </p:cNvPr>
              <p:cNvPicPr/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75741" y="590459"/>
                <a:ext cx="118986" cy="118986"/>
              </a:xfrm>
              <a:prstGeom prst="rect">
                <a:avLst/>
              </a:prstGeom>
            </p:spPr>
          </p:pic>
          <p:sp>
            <p:nvSpPr>
              <p:cNvPr id="30" name="object 211">
                <a:extLst>
                  <a:ext uri="{FF2B5EF4-FFF2-40B4-BE49-F238E27FC236}">
                    <a16:creationId xmlns:a16="http://schemas.microsoft.com/office/drawing/2014/main" id="{8D627AE3-FC81-BC36-3C9A-82F43094868A}"/>
                  </a:ext>
                </a:extLst>
              </p:cNvPr>
              <p:cNvSpPr/>
              <p:nvPr/>
            </p:nvSpPr>
            <p:spPr>
              <a:xfrm>
                <a:off x="458584" y="458202"/>
                <a:ext cx="353695" cy="383540"/>
              </a:xfrm>
              <a:custGeom>
                <a:avLst/>
                <a:gdLst/>
                <a:ahLst/>
                <a:cxnLst/>
                <a:rect l="l" t="t" r="r" b="b"/>
                <a:pathLst>
                  <a:path w="353695" h="383540">
                    <a:moveTo>
                      <a:pt x="289636" y="92748"/>
                    </a:moveTo>
                    <a:lnTo>
                      <a:pt x="231648" y="53365"/>
                    </a:lnTo>
                    <a:lnTo>
                      <a:pt x="178638" y="27279"/>
                    </a:lnTo>
                    <a:lnTo>
                      <a:pt x="129768" y="9779"/>
                    </a:lnTo>
                    <a:lnTo>
                      <a:pt x="86499" y="736"/>
                    </a:lnTo>
                    <a:lnTo>
                      <a:pt x="50330" y="0"/>
                    </a:lnTo>
                    <a:lnTo>
                      <a:pt x="22745" y="7404"/>
                    </a:lnTo>
                    <a:lnTo>
                      <a:pt x="5245" y="22821"/>
                    </a:lnTo>
                    <a:lnTo>
                      <a:pt x="0" y="55778"/>
                    </a:lnTo>
                    <a:lnTo>
                      <a:pt x="16421" y="97129"/>
                    </a:lnTo>
                    <a:lnTo>
                      <a:pt x="51752" y="143167"/>
                    </a:lnTo>
                    <a:lnTo>
                      <a:pt x="103251" y="190169"/>
                    </a:lnTo>
                    <a:lnTo>
                      <a:pt x="104927" y="191477"/>
                    </a:lnTo>
                    <a:lnTo>
                      <a:pt x="107315" y="191350"/>
                    </a:lnTo>
                    <a:lnTo>
                      <a:pt x="108826" y="189839"/>
                    </a:lnTo>
                    <a:lnTo>
                      <a:pt x="110629" y="188036"/>
                    </a:lnTo>
                    <a:lnTo>
                      <a:pt x="110591" y="185331"/>
                    </a:lnTo>
                    <a:lnTo>
                      <a:pt x="108877" y="183692"/>
                    </a:lnTo>
                    <a:lnTo>
                      <a:pt x="74091" y="145821"/>
                    </a:lnTo>
                    <a:lnTo>
                      <a:pt x="51117" y="110007"/>
                    </a:lnTo>
                    <a:lnTo>
                      <a:pt x="41567" y="78333"/>
                    </a:lnTo>
                    <a:lnTo>
                      <a:pt x="46990" y="52908"/>
                    </a:lnTo>
                    <a:lnTo>
                      <a:pt x="71120" y="35483"/>
                    </a:lnTo>
                    <a:lnTo>
                      <a:pt x="110515" y="31724"/>
                    </a:lnTo>
                    <a:lnTo>
                      <a:pt x="161417" y="40894"/>
                    </a:lnTo>
                    <a:lnTo>
                      <a:pt x="220052" y="62293"/>
                    </a:lnTo>
                    <a:lnTo>
                      <a:pt x="284302" y="96202"/>
                    </a:lnTo>
                    <a:lnTo>
                      <a:pt x="286435" y="95961"/>
                    </a:lnTo>
                    <a:lnTo>
                      <a:pt x="289636" y="92748"/>
                    </a:lnTo>
                    <a:close/>
                  </a:path>
                  <a:path w="353695" h="383540">
                    <a:moveTo>
                      <a:pt x="353288" y="327723"/>
                    </a:moveTo>
                    <a:lnTo>
                      <a:pt x="336867" y="286372"/>
                    </a:lnTo>
                    <a:lnTo>
                      <a:pt x="301536" y="240347"/>
                    </a:lnTo>
                    <a:lnTo>
                      <a:pt x="250037" y="193344"/>
                    </a:lnTo>
                    <a:lnTo>
                      <a:pt x="248361" y="192024"/>
                    </a:lnTo>
                    <a:lnTo>
                      <a:pt x="245973" y="192163"/>
                    </a:lnTo>
                    <a:lnTo>
                      <a:pt x="242658" y="195465"/>
                    </a:lnTo>
                    <a:lnTo>
                      <a:pt x="242697" y="198183"/>
                    </a:lnTo>
                    <a:lnTo>
                      <a:pt x="244411" y="199809"/>
                    </a:lnTo>
                    <a:lnTo>
                      <a:pt x="279209" y="237680"/>
                    </a:lnTo>
                    <a:lnTo>
                      <a:pt x="302171" y="273494"/>
                    </a:lnTo>
                    <a:lnTo>
                      <a:pt x="311734" y="305168"/>
                    </a:lnTo>
                    <a:lnTo>
                      <a:pt x="306298" y="330593"/>
                    </a:lnTo>
                    <a:lnTo>
                      <a:pt x="282168" y="348018"/>
                    </a:lnTo>
                    <a:lnTo>
                      <a:pt x="242773" y="351790"/>
                    </a:lnTo>
                    <a:lnTo>
                      <a:pt x="191884" y="342620"/>
                    </a:lnTo>
                    <a:lnTo>
                      <a:pt x="133248" y="321221"/>
                    </a:lnTo>
                    <a:lnTo>
                      <a:pt x="68973" y="287299"/>
                    </a:lnTo>
                    <a:lnTo>
                      <a:pt x="66852" y="287553"/>
                    </a:lnTo>
                    <a:lnTo>
                      <a:pt x="63639" y="290753"/>
                    </a:lnTo>
                    <a:lnTo>
                      <a:pt x="63881" y="293827"/>
                    </a:lnTo>
                    <a:lnTo>
                      <a:pt x="121653" y="330149"/>
                    </a:lnTo>
                    <a:lnTo>
                      <a:pt x="174650" y="356235"/>
                    </a:lnTo>
                    <a:lnTo>
                      <a:pt x="223532" y="373722"/>
                    </a:lnTo>
                    <a:lnTo>
                      <a:pt x="266788" y="382765"/>
                    </a:lnTo>
                    <a:lnTo>
                      <a:pt x="302958" y="383501"/>
                    </a:lnTo>
                    <a:lnTo>
                      <a:pt x="330530" y="376097"/>
                    </a:lnTo>
                    <a:lnTo>
                      <a:pt x="348030" y="360680"/>
                    </a:lnTo>
                    <a:lnTo>
                      <a:pt x="353288" y="327723"/>
                    </a:lnTo>
                    <a:close/>
                  </a:path>
                </a:pathLst>
              </a:custGeom>
              <a:solidFill>
                <a:srgbClr val="000013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40DC1E61-0C55-CF53-3C55-A4E1FE67D84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01140" y="9157281"/>
            <a:ext cx="176169" cy="155443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0" y="0"/>
            <a:ext cx="7772400" cy="4220845"/>
          </a:xfrm>
          <a:custGeom>
            <a:avLst/>
            <a:gdLst/>
            <a:ahLst/>
            <a:cxnLst/>
            <a:rect l="l" t="t" r="r" b="b"/>
            <a:pathLst>
              <a:path w="7772400" h="4220845">
                <a:moveTo>
                  <a:pt x="7772400" y="0"/>
                </a:moveTo>
                <a:lnTo>
                  <a:pt x="0" y="0"/>
                </a:lnTo>
                <a:lnTo>
                  <a:pt x="0" y="4220730"/>
                </a:lnTo>
                <a:lnTo>
                  <a:pt x="7772400" y="4220730"/>
                </a:lnTo>
                <a:lnTo>
                  <a:pt x="7772400" y="0"/>
                </a:lnTo>
                <a:close/>
              </a:path>
            </a:pathLst>
          </a:custGeom>
          <a:solidFill>
            <a:srgbClr val="E2E2E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 txBox="1">
            <a:spLocks noGrp="1"/>
          </p:cNvSpPr>
          <p:nvPr>
            <p:ph type="title" idx="4294967295"/>
          </p:nvPr>
        </p:nvSpPr>
        <p:spPr>
          <a:xfrm>
            <a:off x="473630" y="1692275"/>
            <a:ext cx="5934075" cy="1262012"/>
          </a:xfrm>
          <a:prstGeom prst="rect">
            <a:avLst/>
          </a:prstGeom>
        </p:spPr>
        <p:txBody>
          <a:bodyPr vert="horz" wrap="square" lIns="0" tIns="0" rIns="0" bIns="0" rtlCol="0" anchor="b">
            <a:normAutofit/>
          </a:bodyPr>
          <a:lstStyle/>
          <a:p>
            <a:pPr marR="5080">
              <a:lnSpc>
                <a:spcPct val="76100"/>
              </a:lnSpc>
            </a:pPr>
            <a:r>
              <a:rPr sz="4600" spc="-110" dirty="0">
                <a:solidFill>
                  <a:schemeClr val="accent2"/>
                </a:solidFill>
              </a:rPr>
              <a:t>Lorem</a:t>
            </a:r>
            <a:r>
              <a:rPr sz="4600" spc="-155" dirty="0">
                <a:solidFill>
                  <a:schemeClr val="accent2"/>
                </a:solidFill>
              </a:rPr>
              <a:t> </a:t>
            </a:r>
            <a:r>
              <a:rPr sz="4600" spc="-80" dirty="0">
                <a:solidFill>
                  <a:schemeClr val="accent2"/>
                </a:solidFill>
              </a:rPr>
              <a:t>ipsum</a:t>
            </a:r>
            <a:r>
              <a:rPr sz="4600" spc="-155" dirty="0">
                <a:solidFill>
                  <a:schemeClr val="accent2"/>
                </a:solidFill>
              </a:rPr>
              <a:t> </a:t>
            </a:r>
            <a:r>
              <a:rPr sz="4600" spc="-55" dirty="0">
                <a:solidFill>
                  <a:schemeClr val="accent2"/>
                </a:solidFill>
              </a:rPr>
              <a:t>dolor </a:t>
            </a:r>
            <a:r>
              <a:rPr sz="4600" spc="-65" dirty="0">
                <a:solidFill>
                  <a:schemeClr val="accent2"/>
                </a:solidFill>
              </a:rPr>
              <a:t>sit</a:t>
            </a:r>
            <a:r>
              <a:rPr sz="4600" spc="-175" dirty="0">
                <a:solidFill>
                  <a:schemeClr val="accent2"/>
                </a:solidFill>
              </a:rPr>
              <a:t> </a:t>
            </a:r>
            <a:r>
              <a:rPr sz="4600" spc="-80" dirty="0" err="1">
                <a:solidFill>
                  <a:schemeClr val="accent2"/>
                </a:solidFill>
              </a:rPr>
              <a:t>amet</a:t>
            </a:r>
            <a:r>
              <a:rPr sz="4600" spc="-175" dirty="0">
                <a:solidFill>
                  <a:schemeClr val="accent2"/>
                </a:solidFill>
              </a:rPr>
              <a:t> </a:t>
            </a:r>
            <a:r>
              <a:rPr sz="4600" spc="-60" dirty="0" err="1">
                <a:solidFill>
                  <a:schemeClr val="accent2"/>
                </a:solidFill>
              </a:rPr>
              <a:t>adipiscing</a:t>
            </a:r>
            <a:endParaRPr sz="4600" dirty="0">
              <a:solidFill>
                <a:schemeClr val="accent2"/>
              </a:solidFill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473629" y="3206762"/>
            <a:ext cx="5957333" cy="440925"/>
          </a:xfrm>
          <a:prstGeom prst="rect">
            <a:avLst/>
          </a:prstGeom>
        </p:spPr>
        <p:txBody>
          <a:bodyPr vert="horz" wrap="square" lIns="0" tIns="0" rIns="0" bIns="0" rtlCol="0">
            <a:normAutofit/>
          </a:bodyPr>
          <a:lstStyle/>
          <a:p>
            <a:pPr>
              <a:lnSpc>
                <a:spcPct val="100000"/>
              </a:lnSpc>
              <a:spcBef>
                <a:spcPts val="100"/>
              </a:spcBef>
            </a:pPr>
            <a:r>
              <a:rPr sz="1300" b="0" dirty="0">
                <a:solidFill>
                  <a:srgbClr val="000013"/>
                </a:solidFill>
                <a:latin typeface="Alliance No.2 Medium"/>
                <a:cs typeface="Alliance No.2 Medium"/>
              </a:rPr>
              <a:t>Lorem</a:t>
            </a:r>
            <a:r>
              <a:rPr sz="1300" b="0" spc="-25" dirty="0">
                <a:solidFill>
                  <a:srgbClr val="000013"/>
                </a:solidFill>
                <a:latin typeface="Alliance No.2 Medium"/>
                <a:cs typeface="Alliance No.2 Medium"/>
              </a:rPr>
              <a:t> </a:t>
            </a:r>
            <a:r>
              <a:rPr sz="1300" b="0" dirty="0">
                <a:solidFill>
                  <a:srgbClr val="000013"/>
                </a:solidFill>
                <a:latin typeface="Alliance No.2 Medium"/>
                <a:cs typeface="Alliance No.2 Medium"/>
              </a:rPr>
              <a:t>ipsum</a:t>
            </a:r>
            <a:r>
              <a:rPr sz="1300" b="0" spc="-10" dirty="0">
                <a:solidFill>
                  <a:srgbClr val="000013"/>
                </a:solidFill>
                <a:latin typeface="Alliance No.2 Medium"/>
                <a:cs typeface="Alliance No.2 Medium"/>
              </a:rPr>
              <a:t> </a:t>
            </a:r>
            <a:r>
              <a:rPr sz="1300" b="0" dirty="0">
                <a:solidFill>
                  <a:srgbClr val="000013"/>
                </a:solidFill>
                <a:latin typeface="Alliance No.2 Medium"/>
                <a:cs typeface="Alliance No.2 Medium"/>
              </a:rPr>
              <a:t>dolor</a:t>
            </a:r>
            <a:r>
              <a:rPr sz="1300" b="0" spc="-10" dirty="0">
                <a:solidFill>
                  <a:srgbClr val="000013"/>
                </a:solidFill>
                <a:latin typeface="Alliance No.2 Medium"/>
                <a:cs typeface="Alliance No.2 Medium"/>
              </a:rPr>
              <a:t> </a:t>
            </a:r>
            <a:r>
              <a:rPr sz="1300" b="0" dirty="0">
                <a:solidFill>
                  <a:srgbClr val="000013"/>
                </a:solidFill>
                <a:latin typeface="Alliance No.2 Medium"/>
                <a:cs typeface="Alliance No.2 Medium"/>
              </a:rPr>
              <a:t>sit</a:t>
            </a:r>
            <a:r>
              <a:rPr sz="1300" b="0" spc="-10" dirty="0">
                <a:solidFill>
                  <a:srgbClr val="000013"/>
                </a:solidFill>
                <a:latin typeface="Alliance No.2 Medium"/>
                <a:cs typeface="Alliance No.2 Medium"/>
              </a:rPr>
              <a:t> </a:t>
            </a:r>
            <a:r>
              <a:rPr sz="1300" b="0" spc="-20" dirty="0" err="1">
                <a:solidFill>
                  <a:srgbClr val="000013"/>
                </a:solidFill>
                <a:latin typeface="Alliance No.2 Medium"/>
                <a:cs typeface="Alliance No.2 Medium"/>
              </a:rPr>
              <a:t>amet</a:t>
            </a:r>
            <a:endParaRPr sz="1300" dirty="0">
              <a:latin typeface="Alliance No.2 Medium"/>
              <a:cs typeface="Alliance No.2 Medium"/>
            </a:endParaRPr>
          </a:p>
        </p:txBody>
      </p:sp>
      <p:sp>
        <p:nvSpPr>
          <p:cNvPr id="277" name="object 277"/>
          <p:cNvSpPr/>
          <p:nvPr/>
        </p:nvSpPr>
        <p:spPr>
          <a:xfrm>
            <a:off x="0" y="-2"/>
            <a:ext cx="7396480" cy="3844925"/>
          </a:xfrm>
          <a:custGeom>
            <a:avLst/>
            <a:gdLst/>
            <a:ahLst/>
            <a:cxnLst/>
            <a:rect l="l" t="t" r="r" b="b"/>
            <a:pathLst>
              <a:path w="7396480" h="3844925">
                <a:moveTo>
                  <a:pt x="0" y="3844378"/>
                </a:moveTo>
                <a:lnTo>
                  <a:pt x="6100406" y="3844378"/>
                </a:lnTo>
                <a:lnTo>
                  <a:pt x="6148979" y="3843485"/>
                </a:lnTo>
                <a:lnTo>
                  <a:pt x="6197101" y="3840825"/>
                </a:lnTo>
                <a:lnTo>
                  <a:pt x="6244740" y="3836429"/>
                </a:lnTo>
                <a:lnTo>
                  <a:pt x="6291865" y="3830330"/>
                </a:lnTo>
                <a:lnTo>
                  <a:pt x="6338445" y="3822559"/>
                </a:lnTo>
                <a:lnTo>
                  <a:pt x="6384449" y="3813146"/>
                </a:lnTo>
                <a:lnTo>
                  <a:pt x="6429845" y="3802124"/>
                </a:lnTo>
                <a:lnTo>
                  <a:pt x="6474602" y="3789523"/>
                </a:lnTo>
                <a:lnTo>
                  <a:pt x="6518689" y="3775374"/>
                </a:lnTo>
                <a:lnTo>
                  <a:pt x="6562074" y="3759710"/>
                </a:lnTo>
                <a:lnTo>
                  <a:pt x="6604726" y="3742561"/>
                </a:lnTo>
                <a:lnTo>
                  <a:pt x="6646613" y="3723959"/>
                </a:lnTo>
                <a:lnTo>
                  <a:pt x="6687705" y="3703935"/>
                </a:lnTo>
                <a:lnTo>
                  <a:pt x="6727970" y="3682520"/>
                </a:lnTo>
                <a:lnTo>
                  <a:pt x="6767377" y="3659746"/>
                </a:lnTo>
                <a:lnTo>
                  <a:pt x="6805894" y="3635644"/>
                </a:lnTo>
                <a:lnTo>
                  <a:pt x="6843490" y="3610245"/>
                </a:lnTo>
                <a:lnTo>
                  <a:pt x="6880134" y="3583581"/>
                </a:lnTo>
                <a:lnTo>
                  <a:pt x="6915794" y="3555683"/>
                </a:lnTo>
                <a:lnTo>
                  <a:pt x="6950439" y="3526581"/>
                </a:lnTo>
                <a:lnTo>
                  <a:pt x="6984039" y="3496309"/>
                </a:lnTo>
                <a:lnTo>
                  <a:pt x="7016561" y="3464896"/>
                </a:lnTo>
                <a:lnTo>
                  <a:pt x="7047974" y="3432374"/>
                </a:lnTo>
                <a:lnTo>
                  <a:pt x="7078246" y="3398775"/>
                </a:lnTo>
                <a:lnTo>
                  <a:pt x="7107348" y="3364130"/>
                </a:lnTo>
                <a:lnTo>
                  <a:pt x="7135246" y="3328470"/>
                </a:lnTo>
                <a:lnTo>
                  <a:pt x="7161911" y="3291826"/>
                </a:lnTo>
                <a:lnTo>
                  <a:pt x="7187310" y="3254230"/>
                </a:lnTo>
                <a:lnTo>
                  <a:pt x="7211413" y="3215713"/>
                </a:lnTo>
                <a:lnTo>
                  <a:pt x="7234187" y="3176306"/>
                </a:lnTo>
                <a:lnTo>
                  <a:pt x="7255602" y="3136041"/>
                </a:lnTo>
                <a:lnTo>
                  <a:pt x="7275626" y="3094949"/>
                </a:lnTo>
                <a:lnTo>
                  <a:pt x="7294229" y="3053062"/>
                </a:lnTo>
                <a:lnTo>
                  <a:pt x="7311378" y="3010410"/>
                </a:lnTo>
                <a:lnTo>
                  <a:pt x="7327042" y="2967024"/>
                </a:lnTo>
                <a:lnTo>
                  <a:pt x="7341191" y="2922938"/>
                </a:lnTo>
                <a:lnTo>
                  <a:pt x="7353792" y="2878180"/>
                </a:lnTo>
                <a:lnTo>
                  <a:pt x="7364815" y="2832784"/>
                </a:lnTo>
                <a:lnTo>
                  <a:pt x="7374228" y="2786780"/>
                </a:lnTo>
                <a:lnTo>
                  <a:pt x="7381999" y="2740199"/>
                </a:lnTo>
                <a:lnTo>
                  <a:pt x="7388099" y="2693073"/>
                </a:lnTo>
                <a:lnTo>
                  <a:pt x="7392494" y="2645433"/>
                </a:lnTo>
                <a:lnTo>
                  <a:pt x="7395154" y="2597311"/>
                </a:lnTo>
                <a:lnTo>
                  <a:pt x="7396048" y="2548737"/>
                </a:lnTo>
                <a:lnTo>
                  <a:pt x="7396048" y="0"/>
                </a:lnTo>
              </a:path>
            </a:pathLst>
          </a:custGeom>
          <a:ln w="7315">
            <a:solidFill>
              <a:srgbClr val="000013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78" name="object 278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6128" y="6572275"/>
            <a:ext cx="2477325" cy="1679549"/>
          </a:xfrm>
          <a:prstGeom prst="roundRect">
            <a:avLst>
              <a:gd name="adj" fmla="val 8352"/>
            </a:avLst>
          </a:prstGeom>
        </p:spPr>
      </p:pic>
      <p:pic>
        <p:nvPicPr>
          <p:cNvPr id="279" name="object 279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6128" y="4660607"/>
            <a:ext cx="2477325" cy="1692249"/>
          </a:xfrm>
          <a:prstGeom prst="roundRect">
            <a:avLst>
              <a:gd name="adj" fmla="val 8289"/>
            </a:avLst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19C06861-D73E-B7CA-B058-D6C41F04F662}"/>
              </a:ext>
            </a:extLst>
          </p:cNvPr>
          <p:cNvGrpSpPr/>
          <p:nvPr/>
        </p:nvGrpSpPr>
        <p:grpSpPr>
          <a:xfrm>
            <a:off x="1824177" y="8488225"/>
            <a:ext cx="1117600" cy="1103630"/>
            <a:chOff x="1817827" y="8500925"/>
            <a:chExt cx="1117600" cy="1103630"/>
          </a:xfrm>
        </p:grpSpPr>
        <p:sp>
          <p:nvSpPr>
            <p:cNvPr id="281" name="object 281"/>
            <p:cNvSpPr/>
            <p:nvPr/>
          </p:nvSpPr>
          <p:spPr>
            <a:xfrm>
              <a:off x="1817827" y="8500925"/>
              <a:ext cx="1117600" cy="1103630"/>
            </a:xfrm>
            <a:custGeom>
              <a:avLst/>
              <a:gdLst/>
              <a:ahLst/>
              <a:cxnLst/>
              <a:rect l="l" t="t" r="r" b="b"/>
              <a:pathLst>
                <a:path w="1117600" h="1103629">
                  <a:moveTo>
                    <a:pt x="975969" y="0"/>
                  </a:moveTo>
                  <a:lnTo>
                    <a:pt x="141096" y="0"/>
                  </a:lnTo>
                  <a:lnTo>
                    <a:pt x="96498" y="7193"/>
                  </a:lnTo>
                  <a:lnTo>
                    <a:pt x="57766" y="27223"/>
                  </a:lnTo>
                  <a:lnTo>
                    <a:pt x="27223" y="57766"/>
                  </a:lnTo>
                  <a:lnTo>
                    <a:pt x="7193" y="96498"/>
                  </a:lnTo>
                  <a:lnTo>
                    <a:pt x="0" y="141097"/>
                  </a:lnTo>
                  <a:lnTo>
                    <a:pt x="0" y="962088"/>
                  </a:lnTo>
                  <a:lnTo>
                    <a:pt x="7193" y="1006686"/>
                  </a:lnTo>
                  <a:lnTo>
                    <a:pt x="27223" y="1045419"/>
                  </a:lnTo>
                  <a:lnTo>
                    <a:pt x="57766" y="1075962"/>
                  </a:lnTo>
                  <a:lnTo>
                    <a:pt x="96498" y="1095992"/>
                  </a:lnTo>
                  <a:lnTo>
                    <a:pt x="141096" y="1103185"/>
                  </a:lnTo>
                  <a:lnTo>
                    <a:pt x="975969" y="1103185"/>
                  </a:lnTo>
                  <a:lnTo>
                    <a:pt x="1020567" y="1095992"/>
                  </a:lnTo>
                  <a:lnTo>
                    <a:pt x="1059300" y="1075962"/>
                  </a:lnTo>
                  <a:lnTo>
                    <a:pt x="1089843" y="1045419"/>
                  </a:lnTo>
                  <a:lnTo>
                    <a:pt x="1109873" y="1006686"/>
                  </a:lnTo>
                  <a:lnTo>
                    <a:pt x="1117066" y="962088"/>
                  </a:lnTo>
                  <a:lnTo>
                    <a:pt x="1117066" y="141097"/>
                  </a:lnTo>
                  <a:lnTo>
                    <a:pt x="1109873" y="96498"/>
                  </a:lnTo>
                  <a:lnTo>
                    <a:pt x="1089843" y="57766"/>
                  </a:lnTo>
                  <a:lnTo>
                    <a:pt x="1059300" y="27223"/>
                  </a:lnTo>
                  <a:lnTo>
                    <a:pt x="1020567" y="7193"/>
                  </a:lnTo>
                  <a:lnTo>
                    <a:pt x="975969" y="0"/>
                  </a:lnTo>
                  <a:close/>
                </a:path>
              </a:pathLst>
            </a:custGeom>
            <a:solidFill>
              <a:srgbClr val="E2E2E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B93B5DB4-D21F-F3E0-4333-9D64A294143E}"/>
                </a:ext>
              </a:extLst>
            </p:cNvPr>
            <p:cNvPicPr>
              <a:picLocks noChangeAspect="1"/>
            </p:cNvPicPr>
            <p:nvPr>
              <p:custDataLst>
                <p:tags r:id="rId5"/>
              </p:custDataLst>
            </p:nvPr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2065882" y="8727794"/>
              <a:ext cx="648897" cy="648897"/>
            </a:xfrm>
            <a:prstGeom prst="rect">
              <a:avLst/>
            </a:prstGeom>
          </p:spPr>
        </p:pic>
      </p:grpSp>
      <p:pic>
        <p:nvPicPr>
          <p:cNvPr id="289" name="object 289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6128" y="8489048"/>
            <a:ext cx="1117053" cy="1103172"/>
          </a:xfrm>
          <a:prstGeom prst="roundRect">
            <a:avLst>
              <a:gd name="adj" fmla="val 12715"/>
            </a:avLst>
          </a:prstGeom>
        </p:spPr>
      </p:pic>
      <p:sp>
        <p:nvSpPr>
          <p:cNvPr id="291" name="object 291"/>
          <p:cNvSpPr txBox="1"/>
          <p:nvPr/>
        </p:nvSpPr>
        <p:spPr>
          <a:xfrm>
            <a:off x="3599767" y="9087669"/>
            <a:ext cx="2896283" cy="427355"/>
          </a:xfrm>
          <a:prstGeom prst="rect">
            <a:avLst/>
          </a:prstGeom>
        </p:spPr>
        <p:txBody>
          <a:bodyPr vert="horz" wrap="square" lIns="10800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300" b="1" dirty="0">
                <a:solidFill>
                  <a:schemeClr val="accent2"/>
                </a:solidFill>
                <a:latin typeface="Alliance No.2"/>
                <a:cs typeface="Alliance No.2"/>
              </a:rPr>
              <a:t>For</a:t>
            </a:r>
            <a:r>
              <a:rPr sz="1300" b="1" spc="-20" dirty="0">
                <a:solidFill>
                  <a:schemeClr val="accent2"/>
                </a:solidFill>
                <a:latin typeface="Alliance No.2"/>
                <a:cs typeface="Alliance No.2"/>
              </a:rPr>
              <a:t> </a:t>
            </a:r>
            <a:r>
              <a:rPr sz="1300" b="1" dirty="0">
                <a:solidFill>
                  <a:schemeClr val="accent2"/>
                </a:solidFill>
                <a:latin typeface="Alliance No.2"/>
                <a:cs typeface="Alliance No.2"/>
              </a:rPr>
              <a:t>more</a:t>
            </a:r>
            <a:r>
              <a:rPr sz="1300" b="1" spc="-15" dirty="0">
                <a:solidFill>
                  <a:schemeClr val="accent2"/>
                </a:solidFill>
                <a:latin typeface="Alliance No.2"/>
                <a:cs typeface="Alliance No.2"/>
              </a:rPr>
              <a:t> </a:t>
            </a:r>
            <a:r>
              <a:rPr sz="1300" b="1" spc="-10" dirty="0">
                <a:solidFill>
                  <a:schemeClr val="accent2"/>
                </a:solidFill>
                <a:latin typeface="Alliance No.2"/>
                <a:cs typeface="Alliance No.2"/>
              </a:rPr>
              <a:t>information</a:t>
            </a:r>
            <a:r>
              <a:rPr sz="1300" b="1" spc="-15" dirty="0">
                <a:solidFill>
                  <a:schemeClr val="accent2"/>
                </a:solidFill>
                <a:latin typeface="Alliance No.2"/>
                <a:cs typeface="Alliance No.2"/>
              </a:rPr>
              <a:t> </a:t>
            </a:r>
            <a:r>
              <a:rPr sz="1300" b="1" dirty="0">
                <a:solidFill>
                  <a:schemeClr val="accent2"/>
                </a:solidFill>
                <a:latin typeface="Alliance No.2"/>
                <a:cs typeface="Alliance No.2"/>
              </a:rPr>
              <a:t>register</a:t>
            </a:r>
            <a:r>
              <a:rPr sz="1300" b="1" spc="-15" dirty="0">
                <a:solidFill>
                  <a:schemeClr val="accent2"/>
                </a:solidFill>
                <a:latin typeface="Alliance No.2"/>
                <a:cs typeface="Alliance No.2"/>
              </a:rPr>
              <a:t> </a:t>
            </a:r>
            <a:r>
              <a:rPr sz="1300" b="1" spc="-25" dirty="0">
                <a:solidFill>
                  <a:schemeClr val="accent2"/>
                </a:solidFill>
                <a:latin typeface="Alliance No.2"/>
                <a:cs typeface="Alliance No.2"/>
              </a:rPr>
              <a:t>at:</a:t>
            </a:r>
            <a:endParaRPr sz="1300" dirty="0">
              <a:solidFill>
                <a:schemeClr val="accent2"/>
              </a:solidFill>
              <a:latin typeface="Alliance No.2"/>
              <a:cs typeface="Alliance No.2"/>
            </a:endParaRPr>
          </a:p>
          <a:p>
            <a:pPr marL="12700">
              <a:lnSpc>
                <a:spcPct val="100000"/>
              </a:lnSpc>
              <a:spcBef>
                <a:spcPts val="40"/>
              </a:spcBef>
            </a:pPr>
            <a:r>
              <a:rPr sz="1300" b="0" u="sng" spc="-10" dirty="0">
                <a:solidFill>
                  <a:schemeClr val="accent2"/>
                </a:solidFill>
                <a:uFill>
                  <a:solidFill>
                    <a:srgbClr val="1E7DED"/>
                  </a:solidFill>
                </a:uFill>
                <a:latin typeface="Alliance No.2 Medium"/>
                <a:cs typeface="Alliance No.2 Medium"/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ohnsmith@spacecenter.org</a:t>
            </a:r>
            <a:endParaRPr sz="1300" dirty="0">
              <a:solidFill>
                <a:schemeClr val="accent2"/>
              </a:solidFill>
              <a:latin typeface="Alliance No.2 Medium"/>
              <a:cs typeface="Alliance No.2 Medium"/>
            </a:endParaRPr>
          </a:p>
        </p:txBody>
      </p:sp>
      <p:sp>
        <p:nvSpPr>
          <p:cNvPr id="294" name="object 10">
            <a:extLst>
              <a:ext uri="{FF2B5EF4-FFF2-40B4-BE49-F238E27FC236}">
                <a16:creationId xmlns:a16="http://schemas.microsoft.com/office/drawing/2014/main" id="{825F1473-2376-60EB-E291-8618751B2D7C}"/>
              </a:ext>
            </a:extLst>
          </p:cNvPr>
          <p:cNvSpPr txBox="1"/>
          <p:nvPr/>
        </p:nvSpPr>
        <p:spPr>
          <a:xfrm>
            <a:off x="3429000" y="4571639"/>
            <a:ext cx="3875088" cy="2430865"/>
          </a:xfrm>
          <a:prstGeom prst="rect">
            <a:avLst/>
          </a:prstGeom>
        </p:spPr>
        <p:txBody>
          <a:bodyPr vert="horz" wrap="square" lIns="0" tIns="32384" rIns="0" bIns="0" rtlCol="0">
            <a:noAutofit/>
          </a:bodyPr>
          <a:lstStyle/>
          <a:p>
            <a:pPr marL="12700" marR="5080">
              <a:lnSpc>
                <a:spcPct val="98000"/>
              </a:lnSpc>
              <a:spcBef>
                <a:spcPts val="254"/>
              </a:spcBef>
            </a:pPr>
            <a:r>
              <a:rPr b="0" dirty="0">
                <a:solidFill>
                  <a:schemeClr val="tx2"/>
                </a:solidFill>
                <a:latin typeface="Alliance No.2 Medium"/>
                <a:cs typeface="Alliance No.2 Medium"/>
              </a:rPr>
              <a:t>Lorem</a:t>
            </a:r>
            <a:r>
              <a:rPr b="0" spc="-20" dirty="0">
                <a:solidFill>
                  <a:schemeClr val="tx2"/>
                </a:solidFill>
                <a:latin typeface="Alliance No.2 Medium"/>
                <a:cs typeface="Alliance No.2 Medium"/>
              </a:rPr>
              <a:t> </a:t>
            </a:r>
            <a:r>
              <a:rPr b="0" dirty="0">
                <a:solidFill>
                  <a:schemeClr val="tx2"/>
                </a:solidFill>
                <a:latin typeface="Alliance No.2 Medium"/>
                <a:cs typeface="Alliance No.2 Medium"/>
              </a:rPr>
              <a:t>ipsum</a:t>
            </a:r>
            <a:r>
              <a:rPr b="0" spc="-10" dirty="0">
                <a:solidFill>
                  <a:schemeClr val="tx2"/>
                </a:solidFill>
                <a:latin typeface="Alliance No.2 Medium"/>
                <a:cs typeface="Alliance No.2 Medium"/>
              </a:rPr>
              <a:t> </a:t>
            </a:r>
            <a:r>
              <a:rPr b="0" dirty="0">
                <a:solidFill>
                  <a:schemeClr val="tx2"/>
                </a:solidFill>
                <a:latin typeface="Alliance No.2 Medium"/>
                <a:cs typeface="Alliance No.2 Medium"/>
              </a:rPr>
              <a:t>dolor</a:t>
            </a:r>
            <a:r>
              <a:rPr b="0" spc="-10" dirty="0">
                <a:solidFill>
                  <a:schemeClr val="tx2"/>
                </a:solidFill>
                <a:latin typeface="Alliance No.2 Medium"/>
                <a:cs typeface="Alliance No.2 Medium"/>
              </a:rPr>
              <a:t> </a:t>
            </a:r>
            <a:r>
              <a:rPr b="0" dirty="0">
                <a:solidFill>
                  <a:schemeClr val="tx2"/>
                </a:solidFill>
                <a:latin typeface="Alliance No.2 Medium"/>
                <a:cs typeface="Alliance No.2 Medium"/>
              </a:rPr>
              <a:t>sit</a:t>
            </a:r>
            <a:r>
              <a:rPr b="0" spc="-10" dirty="0">
                <a:solidFill>
                  <a:schemeClr val="tx2"/>
                </a:solidFill>
                <a:latin typeface="Alliance No.2 Medium"/>
                <a:cs typeface="Alliance No.2 Medium"/>
              </a:rPr>
              <a:t> </a:t>
            </a:r>
            <a:r>
              <a:rPr b="0" dirty="0" err="1">
                <a:solidFill>
                  <a:schemeClr val="tx2"/>
                </a:solidFill>
                <a:latin typeface="Alliance No.2 Medium"/>
                <a:cs typeface="Alliance No.2 Medium"/>
              </a:rPr>
              <a:t>amet</a:t>
            </a:r>
            <a:r>
              <a:rPr b="0" dirty="0">
                <a:solidFill>
                  <a:schemeClr val="tx2"/>
                </a:solidFill>
                <a:latin typeface="Alliance No.2 Medium"/>
                <a:cs typeface="Alliance No.2 Medium"/>
              </a:rPr>
              <a:t>,</a:t>
            </a:r>
            <a:r>
              <a:rPr b="0" spc="-10" dirty="0">
                <a:solidFill>
                  <a:schemeClr val="tx2"/>
                </a:solidFill>
                <a:latin typeface="Alliance No.2 Medium"/>
                <a:cs typeface="Alliance No.2 Medium"/>
              </a:rPr>
              <a:t> </a:t>
            </a:r>
            <a:r>
              <a:rPr b="0" spc="-10" dirty="0" err="1">
                <a:solidFill>
                  <a:schemeClr val="tx2"/>
                </a:solidFill>
                <a:latin typeface="Alliance No.2 Medium"/>
                <a:cs typeface="Alliance No.2 Medium"/>
              </a:rPr>
              <a:t>elit</a:t>
            </a:r>
            <a:r>
              <a:rPr b="0" spc="-10" dirty="0">
                <a:solidFill>
                  <a:schemeClr val="tx2"/>
                </a:solidFill>
                <a:latin typeface="Alliance No.2 Medium"/>
                <a:cs typeface="Alliance No.2 Medium"/>
              </a:rPr>
              <a:t>, </a:t>
            </a:r>
            <a:r>
              <a:rPr b="0" dirty="0">
                <a:solidFill>
                  <a:schemeClr val="tx2"/>
                </a:solidFill>
                <a:latin typeface="Alliance No.2 Medium"/>
                <a:cs typeface="Alliance No.2 Medium"/>
              </a:rPr>
              <a:t>sed</a:t>
            </a:r>
            <a:r>
              <a:rPr b="0" spc="-10" dirty="0">
                <a:solidFill>
                  <a:schemeClr val="tx2"/>
                </a:solidFill>
                <a:latin typeface="Alliance No.2 Medium"/>
                <a:cs typeface="Alliance No.2 Medium"/>
              </a:rPr>
              <a:t> </a:t>
            </a:r>
            <a:r>
              <a:rPr b="0" dirty="0">
                <a:solidFill>
                  <a:schemeClr val="tx2"/>
                </a:solidFill>
                <a:latin typeface="Alliance No.2 Medium"/>
                <a:cs typeface="Alliance No.2 Medium"/>
              </a:rPr>
              <a:t>diam</a:t>
            </a:r>
            <a:r>
              <a:rPr b="0" spc="-10" dirty="0">
                <a:solidFill>
                  <a:schemeClr val="tx2"/>
                </a:solidFill>
                <a:latin typeface="Alliance No.2 Medium"/>
                <a:cs typeface="Alliance No.2 Medium"/>
              </a:rPr>
              <a:t> </a:t>
            </a:r>
            <a:r>
              <a:rPr b="0" dirty="0" err="1">
                <a:solidFill>
                  <a:schemeClr val="tx2"/>
                </a:solidFill>
                <a:latin typeface="Alliance No.2 Medium"/>
                <a:cs typeface="Alliance No.2 Medium"/>
              </a:rPr>
              <a:t>nonummy</a:t>
            </a:r>
            <a:r>
              <a:rPr b="0" spc="-10" dirty="0">
                <a:solidFill>
                  <a:schemeClr val="tx2"/>
                </a:solidFill>
                <a:latin typeface="Alliance No.2 Medium"/>
                <a:cs typeface="Alliance No.2 Medium"/>
              </a:rPr>
              <a:t> </a:t>
            </a:r>
            <a:r>
              <a:rPr b="0" dirty="0" err="1">
                <a:solidFill>
                  <a:schemeClr val="tx2"/>
                </a:solidFill>
                <a:latin typeface="Alliance No.2 Medium"/>
                <a:cs typeface="Alliance No.2 Medium"/>
              </a:rPr>
              <a:t>nibh</a:t>
            </a:r>
            <a:r>
              <a:rPr b="0" spc="-10" dirty="0">
                <a:solidFill>
                  <a:schemeClr val="tx2"/>
                </a:solidFill>
                <a:latin typeface="Alliance No.2 Medium"/>
                <a:cs typeface="Alliance No.2 Medium"/>
              </a:rPr>
              <a:t> </a:t>
            </a:r>
            <a:r>
              <a:rPr b="0" spc="-10" dirty="0" err="1">
                <a:solidFill>
                  <a:schemeClr val="tx2"/>
                </a:solidFill>
                <a:latin typeface="Alliance No.2 Medium"/>
                <a:cs typeface="Alliance No.2 Medium"/>
              </a:rPr>
              <a:t>euismod</a:t>
            </a:r>
            <a:r>
              <a:rPr b="0" spc="-10" dirty="0">
                <a:solidFill>
                  <a:schemeClr val="tx2"/>
                </a:solidFill>
                <a:latin typeface="Alliance No.2 Medium"/>
                <a:cs typeface="Alliance No.2 Medium"/>
              </a:rPr>
              <a:t> </a:t>
            </a:r>
            <a:r>
              <a:rPr b="0" dirty="0" err="1">
                <a:solidFill>
                  <a:schemeClr val="tx2"/>
                </a:solidFill>
                <a:latin typeface="Alliance No.2 Medium"/>
                <a:cs typeface="Alliance No.2 Medium"/>
              </a:rPr>
              <a:t>tincidunt</a:t>
            </a:r>
            <a:r>
              <a:rPr b="0" spc="-55" dirty="0">
                <a:solidFill>
                  <a:schemeClr val="tx2"/>
                </a:solidFill>
                <a:latin typeface="Alliance No.2 Medium"/>
                <a:cs typeface="Alliance No.2 Medium"/>
              </a:rPr>
              <a:t> </a:t>
            </a:r>
            <a:r>
              <a:rPr b="0" dirty="0" err="1">
                <a:solidFill>
                  <a:schemeClr val="tx2"/>
                </a:solidFill>
                <a:latin typeface="Alliance No.2 Medium"/>
                <a:cs typeface="Alliance No.2 Medium"/>
              </a:rPr>
              <a:t>ut</a:t>
            </a:r>
            <a:r>
              <a:rPr b="0" spc="-50" dirty="0">
                <a:solidFill>
                  <a:schemeClr val="tx2"/>
                </a:solidFill>
                <a:latin typeface="Alliance No.2 Medium"/>
                <a:cs typeface="Alliance No.2 Medium"/>
              </a:rPr>
              <a:t> </a:t>
            </a:r>
            <a:r>
              <a:rPr b="0" dirty="0">
                <a:solidFill>
                  <a:schemeClr val="tx2"/>
                </a:solidFill>
                <a:latin typeface="Alliance No.2 Medium"/>
                <a:cs typeface="Alliance No.2 Medium"/>
              </a:rPr>
              <a:t>dolore</a:t>
            </a:r>
            <a:r>
              <a:rPr b="0" spc="-50" dirty="0">
                <a:solidFill>
                  <a:schemeClr val="tx2"/>
                </a:solidFill>
                <a:latin typeface="Alliance No.2 Medium"/>
                <a:cs typeface="Alliance No.2 Medium"/>
              </a:rPr>
              <a:t> </a:t>
            </a:r>
            <a:r>
              <a:rPr b="0" spc="-10" dirty="0">
                <a:solidFill>
                  <a:schemeClr val="tx2"/>
                </a:solidFill>
                <a:latin typeface="Alliance No.2 Medium"/>
                <a:cs typeface="Alliance No.2 Medium"/>
              </a:rPr>
              <a:t>magna.</a:t>
            </a:r>
            <a:r>
              <a:rPr lang="en-GB" b="0" spc="-10" dirty="0">
                <a:solidFill>
                  <a:schemeClr val="tx2"/>
                </a:solidFill>
                <a:latin typeface="Alliance No.2 Medium"/>
                <a:cs typeface="Alliance No.2 Medium"/>
              </a:rPr>
              <a:t> Lorem ipsum </a:t>
            </a:r>
            <a:r>
              <a:rPr lang="en-GB" b="0" spc="-10" dirty="0" err="1">
                <a:solidFill>
                  <a:schemeClr val="tx2"/>
                </a:solidFill>
                <a:latin typeface="Alliance No.2 Medium"/>
                <a:cs typeface="Alliance No.2 Medium"/>
              </a:rPr>
              <a:t>dolor</a:t>
            </a:r>
            <a:r>
              <a:rPr lang="en-GB" b="0" spc="-10" dirty="0">
                <a:solidFill>
                  <a:schemeClr val="tx2"/>
                </a:solidFill>
                <a:latin typeface="Alliance No.2 Medium"/>
                <a:cs typeface="Alliance No.2 Medium"/>
              </a:rPr>
              <a:t> sit </a:t>
            </a:r>
            <a:r>
              <a:rPr lang="en-GB" b="0" spc="-10" dirty="0" err="1">
                <a:solidFill>
                  <a:schemeClr val="tx2"/>
                </a:solidFill>
                <a:latin typeface="Alliance No.2 Medium"/>
                <a:cs typeface="Alliance No.2 Medium"/>
              </a:rPr>
              <a:t>amet</a:t>
            </a:r>
            <a:r>
              <a:rPr lang="en-GB" b="0" spc="-10" dirty="0">
                <a:solidFill>
                  <a:schemeClr val="tx2"/>
                </a:solidFill>
                <a:latin typeface="Alliance No.2 Medium"/>
                <a:cs typeface="Alliance No.2 Medium"/>
              </a:rPr>
              <a:t>, </a:t>
            </a:r>
            <a:r>
              <a:rPr lang="en-GB" b="0" spc="-10" dirty="0" err="1">
                <a:solidFill>
                  <a:schemeClr val="tx2"/>
                </a:solidFill>
                <a:latin typeface="Alliance No.2 Medium"/>
                <a:cs typeface="Alliance No.2 Medium"/>
              </a:rPr>
              <a:t>consectetuer</a:t>
            </a:r>
            <a:r>
              <a:rPr lang="en-GB" b="0" spc="-10" dirty="0">
                <a:solidFill>
                  <a:schemeClr val="tx2"/>
                </a:solidFill>
                <a:latin typeface="Alliance No.2 Medium"/>
                <a:cs typeface="Alliance No.2 Medium"/>
              </a:rPr>
              <a:t> </a:t>
            </a:r>
            <a:r>
              <a:rPr lang="en-GB" b="0" spc="-10" dirty="0" err="1">
                <a:solidFill>
                  <a:schemeClr val="tx2"/>
                </a:solidFill>
                <a:latin typeface="Alliance No.2 Medium"/>
                <a:cs typeface="Alliance No.2 Medium"/>
              </a:rPr>
              <a:t>adipiscing</a:t>
            </a:r>
            <a:r>
              <a:rPr lang="en-GB" b="0" spc="-10" dirty="0">
                <a:solidFill>
                  <a:schemeClr val="tx2"/>
                </a:solidFill>
                <a:latin typeface="Alliance No.2 Medium"/>
                <a:cs typeface="Alliance No.2 Medium"/>
              </a:rPr>
              <a:t> </a:t>
            </a:r>
            <a:r>
              <a:rPr lang="en-GB" b="0" spc="-10" dirty="0" err="1">
                <a:solidFill>
                  <a:schemeClr val="tx2"/>
                </a:solidFill>
                <a:latin typeface="Alliance No.2 Medium"/>
                <a:cs typeface="Alliance No.2 Medium"/>
              </a:rPr>
              <a:t>elit</a:t>
            </a:r>
            <a:r>
              <a:rPr lang="en-GB" b="0" spc="-10" dirty="0">
                <a:solidFill>
                  <a:schemeClr val="tx2"/>
                </a:solidFill>
                <a:latin typeface="Alliance No.2 Medium"/>
                <a:cs typeface="Alliance No.2 Medium"/>
              </a:rPr>
              <a:t>. Maecenas </a:t>
            </a:r>
            <a:r>
              <a:rPr lang="en-GB" b="0" spc="-10" dirty="0" err="1">
                <a:solidFill>
                  <a:schemeClr val="tx2"/>
                </a:solidFill>
                <a:latin typeface="Alliance No.2 Medium"/>
                <a:cs typeface="Alliance No.2 Medium"/>
              </a:rPr>
              <a:t>porttitor</a:t>
            </a:r>
            <a:r>
              <a:rPr lang="en-GB" b="0" spc="-10" dirty="0">
                <a:solidFill>
                  <a:schemeClr val="tx2"/>
                </a:solidFill>
                <a:latin typeface="Alliance No.2 Medium"/>
                <a:cs typeface="Alliance No.2 Medium"/>
              </a:rPr>
              <a:t> </a:t>
            </a:r>
            <a:r>
              <a:rPr lang="en-GB" b="0" spc="-10" dirty="0" err="1">
                <a:solidFill>
                  <a:schemeClr val="tx2"/>
                </a:solidFill>
                <a:latin typeface="Alliance No.2 Medium"/>
                <a:cs typeface="Alliance No.2 Medium"/>
              </a:rPr>
              <a:t>congue</a:t>
            </a:r>
            <a:r>
              <a:rPr lang="en-GB" b="0" spc="-10" dirty="0">
                <a:solidFill>
                  <a:schemeClr val="tx2"/>
                </a:solidFill>
                <a:latin typeface="Alliance No.2 Medium"/>
                <a:cs typeface="Alliance No.2 Medium"/>
              </a:rPr>
              <a:t> </a:t>
            </a:r>
            <a:r>
              <a:rPr lang="en-GB" b="0" spc="-10" dirty="0" err="1">
                <a:solidFill>
                  <a:schemeClr val="tx2"/>
                </a:solidFill>
                <a:latin typeface="Alliance No.2 Medium"/>
                <a:cs typeface="Alliance No.2 Medium"/>
              </a:rPr>
              <a:t>massa</a:t>
            </a:r>
            <a:r>
              <a:rPr lang="en-GB" b="0" spc="-10" dirty="0">
                <a:solidFill>
                  <a:schemeClr val="tx2"/>
                </a:solidFill>
                <a:latin typeface="Alliance No.2 Medium"/>
                <a:cs typeface="Alliance No.2 Medium"/>
              </a:rPr>
              <a:t>. </a:t>
            </a:r>
            <a:r>
              <a:rPr lang="en-GB" b="0" spc="-10" dirty="0" err="1">
                <a:solidFill>
                  <a:schemeClr val="tx2"/>
                </a:solidFill>
                <a:latin typeface="Alliance No.2 Medium"/>
                <a:cs typeface="Alliance No.2 Medium"/>
              </a:rPr>
              <a:t>Fusce</a:t>
            </a:r>
            <a:r>
              <a:rPr lang="en-GB" b="0" spc="-10" dirty="0">
                <a:solidFill>
                  <a:schemeClr val="tx2"/>
                </a:solidFill>
                <a:latin typeface="Alliance No.2 Medium"/>
                <a:cs typeface="Alliance No.2 Medium"/>
              </a:rPr>
              <a:t> </a:t>
            </a:r>
            <a:r>
              <a:rPr lang="en-GB" b="0" spc="-10" dirty="0" err="1">
                <a:solidFill>
                  <a:schemeClr val="tx2"/>
                </a:solidFill>
                <a:latin typeface="Alliance No.2 Medium"/>
                <a:cs typeface="Alliance No.2 Medium"/>
              </a:rPr>
              <a:t>posuere</a:t>
            </a:r>
            <a:r>
              <a:rPr lang="en-GB" b="0" spc="-10" dirty="0">
                <a:solidFill>
                  <a:schemeClr val="tx2"/>
                </a:solidFill>
                <a:latin typeface="Alliance No.2 Medium"/>
                <a:cs typeface="Alliance No.2 Medium"/>
              </a:rPr>
              <a:t>, magna </a:t>
            </a:r>
            <a:r>
              <a:rPr lang="en-GB" b="0" spc="-10" dirty="0" err="1">
                <a:solidFill>
                  <a:schemeClr val="tx2"/>
                </a:solidFill>
                <a:latin typeface="Alliance No.2 Medium"/>
                <a:cs typeface="Alliance No.2 Medium"/>
              </a:rPr>
              <a:t>sed</a:t>
            </a:r>
            <a:r>
              <a:rPr lang="en-GB" b="0" spc="-10" dirty="0">
                <a:solidFill>
                  <a:schemeClr val="tx2"/>
                </a:solidFill>
                <a:latin typeface="Alliance No.2 Medium"/>
                <a:cs typeface="Alliance No.2 Medium"/>
              </a:rPr>
              <a:t> pulvinar </a:t>
            </a:r>
            <a:r>
              <a:rPr lang="en-GB" b="0" spc="-10" dirty="0" err="1">
                <a:solidFill>
                  <a:schemeClr val="tx2"/>
                </a:solidFill>
                <a:latin typeface="Alliance No.2 Medium"/>
                <a:cs typeface="Alliance No.2 Medium"/>
              </a:rPr>
              <a:t>ultricies</a:t>
            </a:r>
            <a:r>
              <a:rPr lang="en-GB" b="0" spc="-10" dirty="0">
                <a:solidFill>
                  <a:schemeClr val="tx2"/>
                </a:solidFill>
                <a:latin typeface="Alliance No.2 Medium"/>
                <a:cs typeface="Alliance No.2 Medium"/>
              </a:rPr>
              <a:t>, </a:t>
            </a:r>
            <a:r>
              <a:rPr lang="en-GB" b="0" spc="-10" dirty="0" err="1">
                <a:solidFill>
                  <a:schemeClr val="tx2"/>
                </a:solidFill>
                <a:latin typeface="Alliance No.2 Medium"/>
                <a:cs typeface="Alliance No.2 Medium"/>
              </a:rPr>
              <a:t>purus</a:t>
            </a:r>
            <a:r>
              <a:rPr lang="en-GB" b="0" spc="-10" dirty="0">
                <a:solidFill>
                  <a:schemeClr val="tx2"/>
                </a:solidFill>
                <a:latin typeface="Alliance No.2 Medium"/>
                <a:cs typeface="Alliance No.2 Medium"/>
              </a:rPr>
              <a:t> </a:t>
            </a:r>
            <a:r>
              <a:rPr lang="en-GB" b="0" spc="-10" dirty="0" err="1">
                <a:solidFill>
                  <a:schemeClr val="tx2"/>
                </a:solidFill>
                <a:latin typeface="Alliance No.2 Medium"/>
                <a:cs typeface="Alliance No.2 Medium"/>
              </a:rPr>
              <a:t>lectus</a:t>
            </a:r>
            <a:r>
              <a:rPr lang="en-GB" b="0" spc="-10" dirty="0">
                <a:solidFill>
                  <a:schemeClr val="tx2"/>
                </a:solidFill>
                <a:latin typeface="Alliance No.2 Medium"/>
                <a:cs typeface="Alliance No.2 Medium"/>
              </a:rPr>
              <a:t> </a:t>
            </a:r>
            <a:r>
              <a:rPr lang="en-GB" b="0" spc="-10" dirty="0" err="1">
                <a:solidFill>
                  <a:schemeClr val="tx2"/>
                </a:solidFill>
                <a:latin typeface="Alliance No.2 Medium"/>
                <a:cs typeface="Alliance No.2 Medium"/>
              </a:rPr>
              <a:t>malesuada</a:t>
            </a:r>
            <a:r>
              <a:rPr lang="en-GB" b="0" spc="-10" dirty="0">
                <a:solidFill>
                  <a:schemeClr val="tx2"/>
                </a:solidFill>
                <a:latin typeface="Alliance No.2 Medium"/>
                <a:cs typeface="Alliance No.2 Medium"/>
              </a:rPr>
              <a:t> libero, sit </a:t>
            </a:r>
            <a:r>
              <a:rPr lang="en-GB" b="0" spc="-10" dirty="0" err="1">
                <a:solidFill>
                  <a:schemeClr val="tx2"/>
                </a:solidFill>
                <a:latin typeface="Alliance No.2 Medium"/>
                <a:cs typeface="Alliance No.2 Medium"/>
              </a:rPr>
              <a:t>amet</a:t>
            </a:r>
            <a:r>
              <a:rPr lang="en-GB" b="0" spc="-10" dirty="0">
                <a:solidFill>
                  <a:schemeClr val="tx2"/>
                </a:solidFill>
                <a:latin typeface="Alliance No.2 Medium"/>
                <a:cs typeface="Alliance No.2 Medium"/>
              </a:rPr>
              <a:t> </a:t>
            </a:r>
            <a:r>
              <a:rPr lang="en-GB" b="0" spc="-10" dirty="0" err="1">
                <a:solidFill>
                  <a:schemeClr val="tx2"/>
                </a:solidFill>
                <a:latin typeface="Alliance No.2 Medium"/>
                <a:cs typeface="Alliance No.2 Medium"/>
              </a:rPr>
              <a:t>commodo</a:t>
            </a:r>
            <a:r>
              <a:rPr lang="en-GB" b="0" spc="-10" dirty="0">
                <a:solidFill>
                  <a:schemeClr val="tx2"/>
                </a:solidFill>
                <a:latin typeface="Alliance No.2 Medium"/>
                <a:cs typeface="Alliance No.2 Medium"/>
              </a:rPr>
              <a:t> magna eros </a:t>
            </a:r>
            <a:r>
              <a:rPr lang="en-GB" b="0" spc="-10" dirty="0" err="1">
                <a:solidFill>
                  <a:schemeClr val="tx2"/>
                </a:solidFill>
                <a:latin typeface="Alliance No.2 Medium"/>
                <a:cs typeface="Alliance No.2 Medium"/>
              </a:rPr>
              <a:t>quis</a:t>
            </a:r>
            <a:r>
              <a:rPr lang="en-GB" b="0" spc="-10" dirty="0">
                <a:solidFill>
                  <a:schemeClr val="tx2"/>
                </a:solidFill>
                <a:latin typeface="Alliance No.2 Medium"/>
                <a:cs typeface="Alliance No.2 Medium"/>
              </a:rPr>
              <a:t> </a:t>
            </a:r>
            <a:r>
              <a:rPr lang="en-GB" b="0" spc="-10" dirty="0" err="1">
                <a:solidFill>
                  <a:schemeClr val="tx2"/>
                </a:solidFill>
                <a:latin typeface="Alliance No.2 Medium"/>
                <a:cs typeface="Alliance No.2 Medium"/>
              </a:rPr>
              <a:t>urna</a:t>
            </a:r>
            <a:r>
              <a:rPr lang="en-GB" b="0" spc="-10" dirty="0">
                <a:solidFill>
                  <a:schemeClr val="tx2"/>
                </a:solidFill>
                <a:latin typeface="Alliance No.2 Medium"/>
                <a:cs typeface="Alliance No.2 Medium"/>
              </a:rPr>
              <a:t>.</a:t>
            </a:r>
          </a:p>
        </p:txBody>
      </p:sp>
      <p:sp>
        <p:nvSpPr>
          <p:cNvPr id="310" name="object 12">
            <a:extLst>
              <a:ext uri="{FF2B5EF4-FFF2-40B4-BE49-F238E27FC236}">
                <a16:creationId xmlns:a16="http://schemas.microsoft.com/office/drawing/2014/main" id="{13FFC79C-F31F-FB19-ABC5-E41625B03BC1}"/>
              </a:ext>
            </a:extLst>
          </p:cNvPr>
          <p:cNvSpPr txBox="1"/>
          <p:nvPr/>
        </p:nvSpPr>
        <p:spPr>
          <a:xfrm>
            <a:off x="3425936" y="7319159"/>
            <a:ext cx="3875088" cy="132096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>
              <a:lnSpc>
                <a:spcPct val="116000"/>
              </a:lnSpc>
              <a:spcAft>
                <a:spcPts val="1200"/>
              </a:spcAft>
            </a:pPr>
            <a:r>
              <a:rPr lang="en-GB" sz="1400" b="1" spc="1" dirty="0">
                <a:solidFill>
                  <a:schemeClr val="tx2"/>
                </a:solidFill>
                <a:latin typeface="Alliance No.2"/>
                <a:cs typeface="Alliance No.2"/>
              </a:rPr>
              <a:t>Lorem ipsum </a:t>
            </a:r>
            <a:r>
              <a:rPr lang="en-GB" sz="1400" b="1" spc="1" dirty="0" err="1">
                <a:solidFill>
                  <a:schemeClr val="tx2"/>
                </a:solidFill>
                <a:latin typeface="Alliance No.2"/>
                <a:cs typeface="Alliance No.2"/>
              </a:rPr>
              <a:t>dolor</a:t>
            </a:r>
            <a:r>
              <a:rPr lang="en-GB" sz="1400" b="1" spc="1" dirty="0">
                <a:solidFill>
                  <a:schemeClr val="tx2"/>
                </a:solidFill>
                <a:latin typeface="Alliance No.2"/>
                <a:cs typeface="Alliance No.2"/>
              </a:rPr>
              <a:t> sit </a:t>
            </a:r>
            <a:r>
              <a:rPr lang="en-GB" sz="1400" b="1" spc="1" dirty="0" err="1">
                <a:solidFill>
                  <a:schemeClr val="tx2"/>
                </a:solidFill>
                <a:latin typeface="Alliance No.2"/>
                <a:cs typeface="Alliance No.2"/>
              </a:rPr>
              <a:t>amet</a:t>
            </a:r>
            <a:r>
              <a:rPr lang="en-GB" sz="1400" b="1" spc="1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</a:p>
          <a:p>
            <a:pPr marL="177800" marR="0" lvl="0" indent="-165100" defTabSz="914400" eaLnBrk="1" fontAlgn="auto" latinLnBrk="0" hangingPunct="1">
              <a:lnSpc>
                <a:spcPct val="116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anose="020B0604020202020204" pitchFamily="34" charset="0"/>
              <a:buChar char="•"/>
              <a:defRPr/>
            </a:pPr>
            <a:r>
              <a:rPr kumimoji="0" lang="en-GB" sz="10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 pitchFamily="50" charset="0"/>
                <a:cs typeface="Alliance No.2"/>
              </a:rPr>
              <a:t>Lorem ipsum </a:t>
            </a:r>
            <a:r>
              <a:rPr kumimoji="0" lang="en-GB" sz="100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 pitchFamily="50" charset="0"/>
                <a:cs typeface="Alliance No.2"/>
              </a:rPr>
              <a:t>dolor</a:t>
            </a:r>
            <a:r>
              <a:rPr kumimoji="0" lang="en-GB" sz="10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 pitchFamily="50" charset="0"/>
                <a:cs typeface="Alliance No.2"/>
              </a:rPr>
              <a:t> sit </a:t>
            </a:r>
            <a:r>
              <a:rPr kumimoji="0" lang="en-GB" sz="100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 pitchFamily="50" charset="0"/>
                <a:cs typeface="Alliance No.2"/>
              </a:rPr>
              <a:t>amet</a:t>
            </a:r>
            <a:r>
              <a:rPr kumimoji="0" lang="en-GB" sz="10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 pitchFamily="50" charset="0"/>
                <a:cs typeface="Alliance No.2"/>
              </a:rPr>
              <a:t>, </a:t>
            </a:r>
            <a:r>
              <a:rPr kumimoji="0" lang="en-GB" sz="100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 pitchFamily="50" charset="0"/>
                <a:cs typeface="Alliance No.2"/>
              </a:rPr>
              <a:t>consectetuer</a:t>
            </a:r>
            <a:r>
              <a:rPr kumimoji="0" lang="en-GB" sz="10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 pitchFamily="50" charset="0"/>
                <a:cs typeface="Alliance No.2"/>
              </a:rPr>
              <a:t> </a:t>
            </a:r>
            <a:r>
              <a:rPr kumimoji="0" lang="en-GB" sz="100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 pitchFamily="50" charset="0"/>
                <a:cs typeface="Alliance No.2"/>
              </a:rPr>
              <a:t>adipiscing</a:t>
            </a:r>
            <a:r>
              <a:rPr kumimoji="0" lang="en-GB" sz="10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 pitchFamily="50" charset="0"/>
                <a:cs typeface="Alliance No.2"/>
              </a:rPr>
              <a:t> </a:t>
            </a:r>
            <a:r>
              <a:rPr kumimoji="0" lang="en-GB" sz="100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 pitchFamily="50" charset="0"/>
                <a:cs typeface="Alliance No.2"/>
              </a:rPr>
              <a:t>elit</a:t>
            </a:r>
            <a:endParaRPr kumimoji="0" lang="en-GB" sz="1000" b="0" i="0" u="none" strike="noStrike" kern="0" cap="none" spc="1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lliance No.2 Medium" pitchFamily="50" charset="0"/>
              <a:cs typeface="Alliance No.2"/>
            </a:endParaRPr>
          </a:p>
          <a:p>
            <a:pPr marL="177800" marR="0" lvl="0" indent="-165100" defTabSz="914400" eaLnBrk="1" fontAlgn="auto" latinLnBrk="0" hangingPunct="1">
              <a:lnSpc>
                <a:spcPct val="116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anose="020B0604020202020204" pitchFamily="34" charset="0"/>
              <a:buChar char="•"/>
              <a:defRPr/>
            </a:pPr>
            <a:r>
              <a:rPr kumimoji="0" lang="en-GB" sz="10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 pitchFamily="50" charset="0"/>
                <a:cs typeface="Alliance No.2"/>
              </a:rPr>
              <a:t>Lorem ipsum </a:t>
            </a:r>
            <a:r>
              <a:rPr kumimoji="0" lang="en-GB" sz="100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 pitchFamily="50" charset="0"/>
                <a:cs typeface="Alliance No.2"/>
              </a:rPr>
              <a:t>dolor</a:t>
            </a:r>
            <a:r>
              <a:rPr kumimoji="0" lang="en-GB" sz="10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 pitchFamily="50" charset="0"/>
                <a:cs typeface="Alliance No.2"/>
              </a:rPr>
              <a:t> sit </a:t>
            </a:r>
            <a:r>
              <a:rPr kumimoji="0" lang="en-GB" sz="100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 pitchFamily="50" charset="0"/>
                <a:cs typeface="Alliance No.2"/>
              </a:rPr>
              <a:t>amet</a:t>
            </a:r>
            <a:r>
              <a:rPr kumimoji="0" lang="en-GB" sz="10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 pitchFamily="50" charset="0"/>
                <a:cs typeface="Alliance No.2"/>
              </a:rPr>
              <a:t>, </a:t>
            </a:r>
            <a:r>
              <a:rPr kumimoji="0" lang="en-GB" sz="100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 pitchFamily="50" charset="0"/>
                <a:cs typeface="Alliance No.2"/>
              </a:rPr>
              <a:t>consectetuer</a:t>
            </a:r>
            <a:r>
              <a:rPr kumimoji="0" lang="en-GB" sz="10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 pitchFamily="50" charset="0"/>
                <a:cs typeface="Alliance No.2"/>
              </a:rPr>
              <a:t> </a:t>
            </a:r>
            <a:r>
              <a:rPr kumimoji="0" lang="en-GB" sz="100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 pitchFamily="50" charset="0"/>
                <a:cs typeface="Alliance No.2"/>
              </a:rPr>
              <a:t>adipiscing</a:t>
            </a:r>
            <a:r>
              <a:rPr kumimoji="0" lang="en-GB" sz="10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 pitchFamily="50" charset="0"/>
                <a:cs typeface="Alliance No.2"/>
              </a:rPr>
              <a:t> </a:t>
            </a:r>
            <a:r>
              <a:rPr kumimoji="0" lang="en-GB" sz="100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 pitchFamily="50" charset="0"/>
                <a:cs typeface="Alliance No.2"/>
              </a:rPr>
              <a:t>elit</a:t>
            </a:r>
            <a:endParaRPr kumimoji="0" lang="en-GB" sz="1000" b="0" i="0" u="none" strike="noStrike" kern="0" cap="none" spc="1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lliance No.2 Medium" pitchFamily="50" charset="0"/>
              <a:cs typeface="Alliance No.2"/>
            </a:endParaRPr>
          </a:p>
          <a:p>
            <a:pPr marL="177800" marR="0" lvl="0" indent="-165100" defTabSz="914400" eaLnBrk="1" fontAlgn="auto" latinLnBrk="0" hangingPunct="1">
              <a:lnSpc>
                <a:spcPct val="116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anose="020B0604020202020204" pitchFamily="34" charset="0"/>
              <a:buChar char="•"/>
              <a:defRPr/>
            </a:pPr>
            <a:r>
              <a:rPr kumimoji="0" lang="en-GB" sz="10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 pitchFamily="50" charset="0"/>
                <a:cs typeface="Alliance No.2"/>
              </a:rPr>
              <a:t>Lorem ipsum </a:t>
            </a:r>
            <a:r>
              <a:rPr kumimoji="0" lang="en-GB" sz="100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 pitchFamily="50" charset="0"/>
                <a:cs typeface="Alliance No.2"/>
              </a:rPr>
              <a:t>dolor</a:t>
            </a:r>
            <a:r>
              <a:rPr kumimoji="0" lang="en-GB" sz="10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 pitchFamily="50" charset="0"/>
                <a:cs typeface="Alliance No.2"/>
              </a:rPr>
              <a:t> sit </a:t>
            </a:r>
            <a:r>
              <a:rPr kumimoji="0" lang="en-GB" sz="100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 pitchFamily="50" charset="0"/>
                <a:cs typeface="Alliance No.2"/>
              </a:rPr>
              <a:t>amet</a:t>
            </a:r>
            <a:r>
              <a:rPr kumimoji="0" lang="en-GB" sz="10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 pitchFamily="50" charset="0"/>
                <a:cs typeface="Alliance No.2"/>
              </a:rPr>
              <a:t>, </a:t>
            </a:r>
            <a:r>
              <a:rPr kumimoji="0" lang="en-GB" sz="100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 pitchFamily="50" charset="0"/>
                <a:cs typeface="Alliance No.2"/>
              </a:rPr>
              <a:t>consectetuer</a:t>
            </a:r>
            <a:r>
              <a:rPr kumimoji="0" lang="en-GB" sz="10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 pitchFamily="50" charset="0"/>
                <a:cs typeface="Alliance No.2"/>
              </a:rPr>
              <a:t> </a:t>
            </a:r>
            <a:r>
              <a:rPr kumimoji="0" lang="en-GB" sz="100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 pitchFamily="50" charset="0"/>
                <a:cs typeface="Alliance No.2"/>
              </a:rPr>
              <a:t>adipiscing</a:t>
            </a:r>
            <a:r>
              <a:rPr kumimoji="0" lang="en-GB" sz="10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 pitchFamily="50" charset="0"/>
                <a:cs typeface="Alliance No.2"/>
              </a:rPr>
              <a:t> </a:t>
            </a:r>
            <a:r>
              <a:rPr kumimoji="0" lang="en-GB" sz="100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 pitchFamily="50" charset="0"/>
                <a:cs typeface="Alliance No.2"/>
              </a:rPr>
              <a:t>elit</a:t>
            </a:r>
            <a:endParaRPr kumimoji="0" lang="en-GB" sz="1000" b="0" i="0" u="none" strike="noStrike" kern="0" cap="none" spc="1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lliance No.2 Medium" pitchFamily="50" charset="0"/>
              <a:cs typeface="Alliance No.2"/>
            </a:endParaRPr>
          </a:p>
          <a:p>
            <a:pPr marL="177800" marR="0" lvl="0" indent="-165100" defTabSz="914400" eaLnBrk="1" fontAlgn="auto" latinLnBrk="0" hangingPunct="1">
              <a:lnSpc>
                <a:spcPct val="116000"/>
              </a:lnSpc>
              <a:spcBef>
                <a:spcPts val="0"/>
              </a:spcBef>
              <a:spcAft>
                <a:spcPts val="600"/>
              </a:spcAft>
              <a:buClrTx/>
              <a:buSzPct val="110000"/>
              <a:buFont typeface="Arial" panose="020B0604020202020204" pitchFamily="34" charset="0"/>
              <a:buChar char="•"/>
              <a:defRPr/>
            </a:pPr>
            <a:r>
              <a:rPr kumimoji="0" lang="en-GB" sz="10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 pitchFamily="50" charset="0"/>
                <a:cs typeface="Alliance No.2"/>
              </a:rPr>
              <a:t>Lorem ipsum </a:t>
            </a:r>
            <a:r>
              <a:rPr kumimoji="0" lang="en-GB" sz="100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 pitchFamily="50" charset="0"/>
                <a:cs typeface="Alliance No.2"/>
              </a:rPr>
              <a:t>dolor</a:t>
            </a:r>
            <a:r>
              <a:rPr kumimoji="0" lang="en-GB" sz="10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 pitchFamily="50" charset="0"/>
                <a:cs typeface="Alliance No.2"/>
              </a:rPr>
              <a:t> sit </a:t>
            </a:r>
            <a:r>
              <a:rPr kumimoji="0" lang="en-GB" sz="100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 pitchFamily="50" charset="0"/>
                <a:cs typeface="Alliance No.2"/>
              </a:rPr>
              <a:t>amet</a:t>
            </a:r>
            <a:r>
              <a:rPr kumimoji="0" lang="en-GB" sz="10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 pitchFamily="50" charset="0"/>
                <a:cs typeface="Alliance No.2"/>
              </a:rPr>
              <a:t>, </a:t>
            </a:r>
            <a:r>
              <a:rPr kumimoji="0" lang="en-GB" sz="100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 pitchFamily="50" charset="0"/>
                <a:cs typeface="Alliance No.2"/>
              </a:rPr>
              <a:t>consectetuer</a:t>
            </a:r>
            <a:r>
              <a:rPr kumimoji="0" lang="en-GB" sz="10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 pitchFamily="50" charset="0"/>
                <a:cs typeface="Alliance No.2"/>
              </a:rPr>
              <a:t> </a:t>
            </a:r>
            <a:r>
              <a:rPr kumimoji="0" lang="en-GB" sz="100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 pitchFamily="50" charset="0"/>
                <a:cs typeface="Alliance No.2"/>
              </a:rPr>
              <a:t>adipiscing</a:t>
            </a:r>
            <a:r>
              <a:rPr kumimoji="0" lang="en-GB" sz="10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 pitchFamily="50" charset="0"/>
                <a:cs typeface="Alliance No.2"/>
              </a:rPr>
              <a:t> </a:t>
            </a:r>
            <a:r>
              <a:rPr kumimoji="0" lang="en-GB" sz="100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 Medium" pitchFamily="50" charset="0"/>
                <a:cs typeface="Alliance No.2"/>
              </a:rPr>
              <a:t>elit</a:t>
            </a:r>
            <a:endParaRPr lang="en-GB" sz="1400" b="1" spc="1" dirty="0">
              <a:solidFill>
                <a:schemeClr val="tx2"/>
              </a:solidFill>
              <a:latin typeface="Alliance No.2"/>
              <a:cs typeface="Alliance No.2"/>
            </a:endParaRPr>
          </a:p>
        </p:txBody>
      </p:sp>
      <p:grpSp>
        <p:nvGrpSpPr>
          <p:cNvPr id="317" name="Group 316">
            <a:extLst>
              <a:ext uri="{FF2B5EF4-FFF2-40B4-BE49-F238E27FC236}">
                <a16:creationId xmlns:a16="http://schemas.microsoft.com/office/drawing/2014/main" id="{793610C1-791B-8331-38E4-10726D4DAA5F}"/>
              </a:ext>
            </a:extLst>
          </p:cNvPr>
          <p:cNvGrpSpPr/>
          <p:nvPr/>
        </p:nvGrpSpPr>
        <p:grpSpPr>
          <a:xfrm>
            <a:off x="458587" y="450000"/>
            <a:ext cx="1237157" cy="548875"/>
            <a:chOff x="458587" y="458194"/>
            <a:chExt cx="1237157" cy="548875"/>
          </a:xfrm>
        </p:grpSpPr>
        <p:pic>
          <p:nvPicPr>
            <p:cNvPr id="318" name="object 208">
              <a:extLst>
                <a:ext uri="{FF2B5EF4-FFF2-40B4-BE49-F238E27FC236}">
                  <a16:creationId xmlns:a16="http://schemas.microsoft.com/office/drawing/2014/main" id="{6A53C9F9-B45C-E013-1FA6-9B8945155886}"/>
                </a:ext>
              </a:extLst>
            </p:cNvPr>
            <p:cNvPicPr/>
            <p:nvPr>
              <p:custDataLst>
                <p:tags r:id="rId4"/>
              </p:custDataLst>
            </p:nvPr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86090" y="477666"/>
              <a:ext cx="809654" cy="529403"/>
            </a:xfrm>
            <a:prstGeom prst="rect">
              <a:avLst/>
            </a:prstGeom>
          </p:spPr>
        </p:pic>
        <p:grpSp>
          <p:nvGrpSpPr>
            <p:cNvPr id="319" name="object 209">
              <a:extLst>
                <a:ext uri="{FF2B5EF4-FFF2-40B4-BE49-F238E27FC236}">
                  <a16:creationId xmlns:a16="http://schemas.microsoft.com/office/drawing/2014/main" id="{57A669D2-8B28-2B87-987B-6097BE6F3069}"/>
                </a:ext>
              </a:extLst>
            </p:cNvPr>
            <p:cNvGrpSpPr/>
            <p:nvPr/>
          </p:nvGrpSpPr>
          <p:grpSpPr>
            <a:xfrm>
              <a:off x="458587" y="458194"/>
              <a:ext cx="353695" cy="383540"/>
              <a:chOff x="458587" y="458194"/>
              <a:chExt cx="353695" cy="383540"/>
            </a:xfrm>
          </p:grpSpPr>
          <p:pic>
            <p:nvPicPr>
              <p:cNvPr id="320" name="object 210">
                <a:extLst>
                  <a:ext uri="{FF2B5EF4-FFF2-40B4-BE49-F238E27FC236}">
                    <a16:creationId xmlns:a16="http://schemas.microsoft.com/office/drawing/2014/main" id="{3AECBAAE-1620-72A0-1FE3-E05F12DDE6DB}"/>
                  </a:ext>
                </a:extLst>
              </p:cNvPr>
              <p:cNvPicPr/>
              <p:nvPr/>
            </p:nvPicPr>
            <p:blipFill>
              <a:blip r:embed="rId1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75741" y="590459"/>
                <a:ext cx="118986" cy="118986"/>
              </a:xfrm>
              <a:prstGeom prst="rect">
                <a:avLst/>
              </a:prstGeom>
            </p:spPr>
          </p:pic>
          <p:sp>
            <p:nvSpPr>
              <p:cNvPr id="321" name="object 211">
                <a:extLst>
                  <a:ext uri="{FF2B5EF4-FFF2-40B4-BE49-F238E27FC236}">
                    <a16:creationId xmlns:a16="http://schemas.microsoft.com/office/drawing/2014/main" id="{8FCDC89D-51B2-5985-7799-34BA414796C8}"/>
                  </a:ext>
                </a:extLst>
              </p:cNvPr>
              <p:cNvSpPr/>
              <p:nvPr/>
            </p:nvSpPr>
            <p:spPr>
              <a:xfrm>
                <a:off x="458584" y="458202"/>
                <a:ext cx="353695" cy="383540"/>
              </a:xfrm>
              <a:custGeom>
                <a:avLst/>
                <a:gdLst/>
                <a:ahLst/>
                <a:cxnLst/>
                <a:rect l="l" t="t" r="r" b="b"/>
                <a:pathLst>
                  <a:path w="353695" h="383540">
                    <a:moveTo>
                      <a:pt x="289636" y="92748"/>
                    </a:moveTo>
                    <a:lnTo>
                      <a:pt x="231648" y="53365"/>
                    </a:lnTo>
                    <a:lnTo>
                      <a:pt x="178638" y="27279"/>
                    </a:lnTo>
                    <a:lnTo>
                      <a:pt x="129768" y="9779"/>
                    </a:lnTo>
                    <a:lnTo>
                      <a:pt x="86499" y="736"/>
                    </a:lnTo>
                    <a:lnTo>
                      <a:pt x="50330" y="0"/>
                    </a:lnTo>
                    <a:lnTo>
                      <a:pt x="22745" y="7404"/>
                    </a:lnTo>
                    <a:lnTo>
                      <a:pt x="5245" y="22821"/>
                    </a:lnTo>
                    <a:lnTo>
                      <a:pt x="0" y="55778"/>
                    </a:lnTo>
                    <a:lnTo>
                      <a:pt x="16421" y="97129"/>
                    </a:lnTo>
                    <a:lnTo>
                      <a:pt x="51752" y="143167"/>
                    </a:lnTo>
                    <a:lnTo>
                      <a:pt x="103251" y="190169"/>
                    </a:lnTo>
                    <a:lnTo>
                      <a:pt x="104927" y="191477"/>
                    </a:lnTo>
                    <a:lnTo>
                      <a:pt x="107315" y="191350"/>
                    </a:lnTo>
                    <a:lnTo>
                      <a:pt x="108826" y="189839"/>
                    </a:lnTo>
                    <a:lnTo>
                      <a:pt x="110629" y="188036"/>
                    </a:lnTo>
                    <a:lnTo>
                      <a:pt x="110591" y="185331"/>
                    </a:lnTo>
                    <a:lnTo>
                      <a:pt x="108877" y="183692"/>
                    </a:lnTo>
                    <a:lnTo>
                      <a:pt x="74091" y="145821"/>
                    </a:lnTo>
                    <a:lnTo>
                      <a:pt x="51117" y="110007"/>
                    </a:lnTo>
                    <a:lnTo>
                      <a:pt x="41567" y="78333"/>
                    </a:lnTo>
                    <a:lnTo>
                      <a:pt x="46990" y="52908"/>
                    </a:lnTo>
                    <a:lnTo>
                      <a:pt x="71120" y="35483"/>
                    </a:lnTo>
                    <a:lnTo>
                      <a:pt x="110515" y="31724"/>
                    </a:lnTo>
                    <a:lnTo>
                      <a:pt x="161417" y="40894"/>
                    </a:lnTo>
                    <a:lnTo>
                      <a:pt x="220052" y="62293"/>
                    </a:lnTo>
                    <a:lnTo>
                      <a:pt x="284302" y="96202"/>
                    </a:lnTo>
                    <a:lnTo>
                      <a:pt x="286435" y="95961"/>
                    </a:lnTo>
                    <a:lnTo>
                      <a:pt x="289636" y="92748"/>
                    </a:lnTo>
                    <a:close/>
                  </a:path>
                  <a:path w="353695" h="383540">
                    <a:moveTo>
                      <a:pt x="353288" y="327723"/>
                    </a:moveTo>
                    <a:lnTo>
                      <a:pt x="336867" y="286372"/>
                    </a:lnTo>
                    <a:lnTo>
                      <a:pt x="301536" y="240347"/>
                    </a:lnTo>
                    <a:lnTo>
                      <a:pt x="250037" y="193344"/>
                    </a:lnTo>
                    <a:lnTo>
                      <a:pt x="248361" y="192024"/>
                    </a:lnTo>
                    <a:lnTo>
                      <a:pt x="245973" y="192163"/>
                    </a:lnTo>
                    <a:lnTo>
                      <a:pt x="242658" y="195465"/>
                    </a:lnTo>
                    <a:lnTo>
                      <a:pt x="242697" y="198183"/>
                    </a:lnTo>
                    <a:lnTo>
                      <a:pt x="244411" y="199809"/>
                    </a:lnTo>
                    <a:lnTo>
                      <a:pt x="279209" y="237680"/>
                    </a:lnTo>
                    <a:lnTo>
                      <a:pt x="302171" y="273494"/>
                    </a:lnTo>
                    <a:lnTo>
                      <a:pt x="311734" y="305168"/>
                    </a:lnTo>
                    <a:lnTo>
                      <a:pt x="306298" y="330593"/>
                    </a:lnTo>
                    <a:lnTo>
                      <a:pt x="282168" y="348018"/>
                    </a:lnTo>
                    <a:lnTo>
                      <a:pt x="242773" y="351790"/>
                    </a:lnTo>
                    <a:lnTo>
                      <a:pt x="191884" y="342620"/>
                    </a:lnTo>
                    <a:lnTo>
                      <a:pt x="133248" y="321221"/>
                    </a:lnTo>
                    <a:lnTo>
                      <a:pt x="68973" y="287299"/>
                    </a:lnTo>
                    <a:lnTo>
                      <a:pt x="66852" y="287553"/>
                    </a:lnTo>
                    <a:lnTo>
                      <a:pt x="63639" y="290753"/>
                    </a:lnTo>
                    <a:lnTo>
                      <a:pt x="63881" y="293827"/>
                    </a:lnTo>
                    <a:lnTo>
                      <a:pt x="121653" y="330149"/>
                    </a:lnTo>
                    <a:lnTo>
                      <a:pt x="174650" y="356235"/>
                    </a:lnTo>
                    <a:lnTo>
                      <a:pt x="223532" y="373722"/>
                    </a:lnTo>
                    <a:lnTo>
                      <a:pt x="266788" y="382765"/>
                    </a:lnTo>
                    <a:lnTo>
                      <a:pt x="302958" y="383501"/>
                    </a:lnTo>
                    <a:lnTo>
                      <a:pt x="330530" y="376097"/>
                    </a:lnTo>
                    <a:lnTo>
                      <a:pt x="348030" y="360680"/>
                    </a:lnTo>
                    <a:lnTo>
                      <a:pt x="353288" y="327723"/>
                    </a:lnTo>
                    <a:close/>
                  </a:path>
                </a:pathLst>
              </a:custGeom>
              <a:solidFill>
                <a:srgbClr val="000013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8DD5DE43-27A0-CD28-5D3C-D16136C837E8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436096" y="9128477"/>
            <a:ext cx="176169" cy="155443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29175" y="6593554"/>
            <a:ext cx="2475546" cy="1678334"/>
          </a:xfrm>
          <a:prstGeom prst="roundRect">
            <a:avLst>
              <a:gd name="adj" fmla="val 8352"/>
            </a:avLst>
          </a:prstGeom>
        </p:spPr>
      </p:pic>
      <p:pic>
        <p:nvPicPr>
          <p:cNvPr id="4" name="object 4"/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6856" t="-12618" b="-1"/>
          <a:stretch/>
        </p:blipFill>
        <p:spPr>
          <a:xfrm>
            <a:off x="-501444" y="-534878"/>
            <a:ext cx="7815692" cy="4773630"/>
          </a:xfrm>
          <a:prstGeom prst="roundRect">
            <a:avLst>
              <a:gd name="adj" fmla="val 2938"/>
            </a:avLst>
          </a:prstGeom>
        </p:spPr>
      </p:pic>
      <p:sp>
        <p:nvSpPr>
          <p:cNvPr id="5" name="object 5"/>
          <p:cNvSpPr/>
          <p:nvPr/>
        </p:nvSpPr>
        <p:spPr>
          <a:xfrm>
            <a:off x="466725" y="3352126"/>
            <a:ext cx="297180" cy="33020"/>
          </a:xfrm>
          <a:custGeom>
            <a:avLst/>
            <a:gdLst/>
            <a:ahLst/>
            <a:cxnLst/>
            <a:rect l="l" t="t" r="r" b="b"/>
            <a:pathLst>
              <a:path w="297180" h="33020">
                <a:moveTo>
                  <a:pt x="296964" y="0"/>
                </a:moveTo>
                <a:lnTo>
                  <a:pt x="0" y="0"/>
                </a:lnTo>
                <a:lnTo>
                  <a:pt x="0" y="32435"/>
                </a:lnTo>
                <a:lnTo>
                  <a:pt x="296964" y="32435"/>
                </a:lnTo>
                <a:lnTo>
                  <a:pt x="296964" y="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>
            <a:spLocks noGrp="1"/>
          </p:cNvSpPr>
          <p:nvPr>
            <p:ph type="title" idx="4294967295"/>
          </p:nvPr>
        </p:nvSpPr>
        <p:spPr>
          <a:xfrm>
            <a:off x="466725" y="1830388"/>
            <a:ext cx="6024563" cy="1281112"/>
          </a:xfrm>
          <a:prstGeom prst="rect">
            <a:avLst/>
          </a:prstGeom>
        </p:spPr>
        <p:txBody>
          <a:bodyPr vert="horz" wrap="square" lIns="0" tIns="186690" rIns="0" bIns="0" rtlCol="0" anchor="b">
            <a:normAutofit/>
          </a:bodyPr>
          <a:lstStyle/>
          <a:p>
            <a:pPr marR="5080">
              <a:lnSpc>
                <a:spcPct val="75500"/>
              </a:lnSpc>
            </a:pPr>
            <a:r>
              <a:rPr spc="-140" dirty="0">
                <a:solidFill>
                  <a:srgbClr val="FFFFFF"/>
                </a:solidFill>
              </a:rPr>
              <a:t>Lorem</a:t>
            </a:r>
            <a:r>
              <a:rPr spc="-160" dirty="0">
                <a:solidFill>
                  <a:srgbClr val="FFFFFF"/>
                </a:solidFill>
              </a:rPr>
              <a:t> </a:t>
            </a:r>
            <a:r>
              <a:rPr spc="-110" dirty="0">
                <a:solidFill>
                  <a:srgbClr val="FFFFFF"/>
                </a:solidFill>
              </a:rPr>
              <a:t>ipsum</a:t>
            </a:r>
            <a:r>
              <a:rPr spc="-160" dirty="0">
                <a:solidFill>
                  <a:srgbClr val="FFFFFF"/>
                </a:solidFill>
              </a:rPr>
              <a:t> </a:t>
            </a:r>
            <a:r>
              <a:rPr spc="-105" dirty="0">
                <a:solidFill>
                  <a:srgbClr val="FFFFFF"/>
                </a:solidFill>
              </a:rPr>
              <a:t>dolor</a:t>
            </a:r>
            <a:r>
              <a:rPr spc="-155" dirty="0">
                <a:solidFill>
                  <a:srgbClr val="FFFFFF"/>
                </a:solidFill>
              </a:rPr>
              <a:t> </a:t>
            </a:r>
            <a:r>
              <a:rPr spc="-20" dirty="0">
                <a:solidFill>
                  <a:srgbClr val="FFFFFF"/>
                </a:solidFill>
              </a:rPr>
              <a:t>sit, </a:t>
            </a:r>
            <a:r>
              <a:rPr spc="-114" dirty="0" err="1">
                <a:solidFill>
                  <a:srgbClr val="FFFFFF"/>
                </a:solidFill>
              </a:rPr>
              <a:t>amet</a:t>
            </a:r>
            <a:r>
              <a:rPr spc="-170" dirty="0">
                <a:solidFill>
                  <a:srgbClr val="FFFFFF"/>
                </a:solidFill>
              </a:rPr>
              <a:t> </a:t>
            </a:r>
            <a:r>
              <a:rPr spc="-45" dirty="0" err="1">
                <a:solidFill>
                  <a:srgbClr val="FFFFFF"/>
                </a:solidFill>
              </a:rPr>
              <a:t>consectetuer</a:t>
            </a:r>
            <a:r>
              <a:rPr spc="-45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7" name="object 7"/>
          <p:cNvSpPr txBox="1"/>
          <p:nvPr/>
        </p:nvSpPr>
        <p:spPr>
          <a:xfrm>
            <a:off x="466725" y="3564321"/>
            <a:ext cx="5964238" cy="477244"/>
          </a:xfrm>
          <a:prstGeom prst="rect">
            <a:avLst/>
          </a:prstGeom>
        </p:spPr>
        <p:txBody>
          <a:bodyPr vert="horz" wrap="square" lIns="0" tIns="12700" rIns="0" bIns="0" rtlCol="0">
            <a:normAutofit/>
          </a:bodyPr>
          <a:lstStyle/>
          <a:p>
            <a:pPr algn="l">
              <a:lnSpc>
                <a:spcPct val="100000"/>
              </a:lnSpc>
            </a:pPr>
            <a:r>
              <a:rPr sz="1400" dirty="0">
                <a:solidFill>
                  <a:srgbClr val="FFFFFF"/>
                </a:solidFill>
                <a:latin typeface="Alliance No.2"/>
                <a:cs typeface="Alliance No.2"/>
              </a:rPr>
              <a:t>Lorem</a:t>
            </a:r>
            <a:r>
              <a:rPr sz="1400" spc="-15" dirty="0">
                <a:solidFill>
                  <a:srgbClr val="FFFFFF"/>
                </a:solidFill>
                <a:latin typeface="Alliance No.2"/>
                <a:cs typeface="Alliance No.2"/>
              </a:rPr>
              <a:t> </a:t>
            </a:r>
            <a:r>
              <a:rPr sz="1400" dirty="0">
                <a:solidFill>
                  <a:srgbClr val="FFFFFF"/>
                </a:solidFill>
                <a:latin typeface="Alliance No.2"/>
                <a:cs typeface="Alliance No.2"/>
              </a:rPr>
              <a:t>ipsum</a:t>
            </a:r>
            <a:r>
              <a:rPr sz="1400" spc="-15" dirty="0">
                <a:solidFill>
                  <a:srgbClr val="FFFFFF"/>
                </a:solidFill>
                <a:latin typeface="Alliance No.2"/>
                <a:cs typeface="Alliance No.2"/>
              </a:rPr>
              <a:t> </a:t>
            </a:r>
            <a:r>
              <a:rPr sz="1400" dirty="0">
                <a:solidFill>
                  <a:srgbClr val="FFFFFF"/>
                </a:solidFill>
                <a:latin typeface="Alliance No.2"/>
                <a:cs typeface="Alliance No.2"/>
              </a:rPr>
              <a:t>dolor</a:t>
            </a:r>
            <a:r>
              <a:rPr sz="1400" spc="-15" dirty="0">
                <a:solidFill>
                  <a:srgbClr val="FFFFFF"/>
                </a:solidFill>
                <a:latin typeface="Alliance No.2"/>
                <a:cs typeface="Alliance No.2"/>
              </a:rPr>
              <a:t> </a:t>
            </a:r>
            <a:r>
              <a:rPr sz="1400" dirty="0">
                <a:solidFill>
                  <a:srgbClr val="FFFFFF"/>
                </a:solidFill>
                <a:latin typeface="Alliance No.2"/>
                <a:cs typeface="Alliance No.2"/>
              </a:rPr>
              <a:t>sit</a:t>
            </a:r>
            <a:r>
              <a:rPr sz="1400" spc="-10" dirty="0">
                <a:solidFill>
                  <a:srgbClr val="FFFFFF"/>
                </a:solidFill>
                <a:latin typeface="Alliance No.2"/>
                <a:cs typeface="Alliance No.2"/>
              </a:rPr>
              <a:t> </a:t>
            </a:r>
            <a:r>
              <a:rPr sz="1400" spc="-20" dirty="0" err="1">
                <a:solidFill>
                  <a:srgbClr val="FFFFFF"/>
                </a:solidFill>
                <a:latin typeface="Alliance No.2"/>
                <a:cs typeface="Alliance No.2"/>
              </a:rPr>
              <a:t>amet</a:t>
            </a:r>
            <a:endParaRPr sz="1400" dirty="0">
              <a:latin typeface="Alliance No.2"/>
              <a:cs typeface="Alliance No.2"/>
            </a:endParaRPr>
          </a:p>
        </p:txBody>
      </p:sp>
      <p:grpSp>
        <p:nvGrpSpPr>
          <p:cNvPr id="8" name="object 8"/>
          <p:cNvGrpSpPr/>
          <p:nvPr/>
        </p:nvGrpSpPr>
        <p:grpSpPr>
          <a:xfrm>
            <a:off x="458584" y="451441"/>
            <a:ext cx="1237615" cy="549275"/>
            <a:chOff x="458584" y="451441"/>
            <a:chExt cx="1237615" cy="549275"/>
          </a:xfrm>
        </p:grpSpPr>
        <p:pic>
          <p:nvPicPr>
            <p:cNvPr id="9" name="object 9"/>
            <p:cNvPicPr/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86089" y="470913"/>
              <a:ext cx="809654" cy="529404"/>
            </a:xfrm>
            <a:prstGeom prst="rect">
              <a:avLst/>
            </a:prstGeom>
          </p:spPr>
        </p:pic>
        <p:pic>
          <p:nvPicPr>
            <p:cNvPr id="10" name="object 10"/>
            <p:cNvPicPr/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5740" y="583707"/>
              <a:ext cx="118986" cy="118986"/>
            </a:xfrm>
            <a:prstGeom prst="rect">
              <a:avLst/>
            </a:prstGeom>
          </p:spPr>
        </p:pic>
        <p:sp>
          <p:nvSpPr>
            <p:cNvPr id="11" name="object 11"/>
            <p:cNvSpPr/>
            <p:nvPr/>
          </p:nvSpPr>
          <p:spPr>
            <a:xfrm>
              <a:off x="458584" y="451446"/>
              <a:ext cx="353695" cy="383540"/>
            </a:xfrm>
            <a:custGeom>
              <a:avLst/>
              <a:gdLst/>
              <a:ahLst/>
              <a:cxnLst/>
              <a:rect l="l" t="t" r="r" b="b"/>
              <a:pathLst>
                <a:path w="353695" h="383540">
                  <a:moveTo>
                    <a:pt x="289636" y="92748"/>
                  </a:moveTo>
                  <a:lnTo>
                    <a:pt x="231635" y="53365"/>
                  </a:lnTo>
                  <a:lnTo>
                    <a:pt x="178638" y="27279"/>
                  </a:lnTo>
                  <a:lnTo>
                    <a:pt x="129768" y="9791"/>
                  </a:lnTo>
                  <a:lnTo>
                    <a:pt x="86499" y="736"/>
                  </a:lnTo>
                  <a:lnTo>
                    <a:pt x="50330" y="0"/>
                  </a:lnTo>
                  <a:lnTo>
                    <a:pt x="22745" y="7416"/>
                  </a:lnTo>
                  <a:lnTo>
                    <a:pt x="5245" y="22821"/>
                  </a:lnTo>
                  <a:lnTo>
                    <a:pt x="0" y="55778"/>
                  </a:lnTo>
                  <a:lnTo>
                    <a:pt x="16408" y="97129"/>
                  </a:lnTo>
                  <a:lnTo>
                    <a:pt x="51752" y="143167"/>
                  </a:lnTo>
                  <a:lnTo>
                    <a:pt x="103251" y="190169"/>
                  </a:lnTo>
                  <a:lnTo>
                    <a:pt x="104927" y="191477"/>
                  </a:lnTo>
                  <a:lnTo>
                    <a:pt x="107315" y="191350"/>
                  </a:lnTo>
                  <a:lnTo>
                    <a:pt x="108826" y="189839"/>
                  </a:lnTo>
                  <a:lnTo>
                    <a:pt x="110629" y="188036"/>
                  </a:lnTo>
                  <a:lnTo>
                    <a:pt x="110591" y="185331"/>
                  </a:lnTo>
                  <a:lnTo>
                    <a:pt x="108877" y="183692"/>
                  </a:lnTo>
                  <a:lnTo>
                    <a:pt x="74079" y="145834"/>
                  </a:lnTo>
                  <a:lnTo>
                    <a:pt x="51117" y="110007"/>
                  </a:lnTo>
                  <a:lnTo>
                    <a:pt x="41554" y="78333"/>
                  </a:lnTo>
                  <a:lnTo>
                    <a:pt x="46990" y="52908"/>
                  </a:lnTo>
                  <a:lnTo>
                    <a:pt x="71120" y="35496"/>
                  </a:lnTo>
                  <a:lnTo>
                    <a:pt x="110515" y="31724"/>
                  </a:lnTo>
                  <a:lnTo>
                    <a:pt x="161417" y="40906"/>
                  </a:lnTo>
                  <a:lnTo>
                    <a:pt x="220040" y="62293"/>
                  </a:lnTo>
                  <a:lnTo>
                    <a:pt x="284302" y="96202"/>
                  </a:lnTo>
                  <a:lnTo>
                    <a:pt x="286435" y="95961"/>
                  </a:lnTo>
                  <a:lnTo>
                    <a:pt x="289636" y="92748"/>
                  </a:lnTo>
                  <a:close/>
                </a:path>
                <a:path w="353695" h="383540">
                  <a:moveTo>
                    <a:pt x="353288" y="327723"/>
                  </a:moveTo>
                  <a:lnTo>
                    <a:pt x="336867" y="286372"/>
                  </a:lnTo>
                  <a:lnTo>
                    <a:pt x="301536" y="240347"/>
                  </a:lnTo>
                  <a:lnTo>
                    <a:pt x="250037" y="193344"/>
                  </a:lnTo>
                  <a:lnTo>
                    <a:pt x="248361" y="192024"/>
                  </a:lnTo>
                  <a:lnTo>
                    <a:pt x="245973" y="192163"/>
                  </a:lnTo>
                  <a:lnTo>
                    <a:pt x="242658" y="195465"/>
                  </a:lnTo>
                  <a:lnTo>
                    <a:pt x="242697" y="198183"/>
                  </a:lnTo>
                  <a:lnTo>
                    <a:pt x="244411" y="199809"/>
                  </a:lnTo>
                  <a:lnTo>
                    <a:pt x="279209" y="237680"/>
                  </a:lnTo>
                  <a:lnTo>
                    <a:pt x="302171" y="273494"/>
                  </a:lnTo>
                  <a:lnTo>
                    <a:pt x="311734" y="305168"/>
                  </a:lnTo>
                  <a:lnTo>
                    <a:pt x="306298" y="330593"/>
                  </a:lnTo>
                  <a:lnTo>
                    <a:pt x="282168" y="348018"/>
                  </a:lnTo>
                  <a:lnTo>
                    <a:pt x="242773" y="351790"/>
                  </a:lnTo>
                  <a:lnTo>
                    <a:pt x="191871" y="342620"/>
                  </a:lnTo>
                  <a:lnTo>
                    <a:pt x="133248" y="321221"/>
                  </a:lnTo>
                  <a:lnTo>
                    <a:pt x="68973" y="287299"/>
                  </a:lnTo>
                  <a:lnTo>
                    <a:pt x="66852" y="287553"/>
                  </a:lnTo>
                  <a:lnTo>
                    <a:pt x="63639" y="290753"/>
                  </a:lnTo>
                  <a:lnTo>
                    <a:pt x="63881" y="293827"/>
                  </a:lnTo>
                  <a:lnTo>
                    <a:pt x="121653" y="330149"/>
                  </a:lnTo>
                  <a:lnTo>
                    <a:pt x="174650" y="356235"/>
                  </a:lnTo>
                  <a:lnTo>
                    <a:pt x="223532" y="373722"/>
                  </a:lnTo>
                  <a:lnTo>
                    <a:pt x="266788" y="382765"/>
                  </a:lnTo>
                  <a:lnTo>
                    <a:pt x="302958" y="383514"/>
                  </a:lnTo>
                  <a:lnTo>
                    <a:pt x="330530" y="376097"/>
                  </a:lnTo>
                  <a:lnTo>
                    <a:pt x="348030" y="360680"/>
                  </a:lnTo>
                  <a:lnTo>
                    <a:pt x="353288" y="32772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12" name="object 12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29174" y="4674699"/>
            <a:ext cx="2475547" cy="1691026"/>
          </a:xfrm>
          <a:prstGeom prst="roundRect">
            <a:avLst>
              <a:gd name="adj" fmla="val 8289"/>
            </a:avLst>
          </a:prstGeom>
        </p:spPr>
      </p:pic>
      <p:grpSp>
        <p:nvGrpSpPr>
          <p:cNvPr id="34" name="Group 33">
            <a:extLst>
              <a:ext uri="{FF2B5EF4-FFF2-40B4-BE49-F238E27FC236}">
                <a16:creationId xmlns:a16="http://schemas.microsoft.com/office/drawing/2014/main" id="{BBCCD074-0FE8-0DD0-85A3-F2E543075D4D}"/>
              </a:ext>
            </a:extLst>
          </p:cNvPr>
          <p:cNvGrpSpPr/>
          <p:nvPr/>
        </p:nvGrpSpPr>
        <p:grpSpPr>
          <a:xfrm>
            <a:off x="6187121" y="8491765"/>
            <a:ext cx="1117600" cy="1103630"/>
            <a:chOff x="6198138" y="8500925"/>
            <a:chExt cx="1117600" cy="1103630"/>
          </a:xfrm>
        </p:grpSpPr>
        <p:sp>
          <p:nvSpPr>
            <p:cNvPr id="14" name="object 14"/>
            <p:cNvSpPr/>
            <p:nvPr/>
          </p:nvSpPr>
          <p:spPr>
            <a:xfrm>
              <a:off x="6198138" y="8500925"/>
              <a:ext cx="1117600" cy="1103630"/>
            </a:xfrm>
            <a:custGeom>
              <a:avLst/>
              <a:gdLst/>
              <a:ahLst/>
              <a:cxnLst/>
              <a:rect l="l" t="t" r="r" b="b"/>
              <a:pathLst>
                <a:path w="1117600" h="1103629">
                  <a:moveTo>
                    <a:pt x="975969" y="0"/>
                  </a:moveTo>
                  <a:lnTo>
                    <a:pt x="141097" y="0"/>
                  </a:lnTo>
                  <a:lnTo>
                    <a:pt x="96498" y="7193"/>
                  </a:lnTo>
                  <a:lnTo>
                    <a:pt x="57766" y="27223"/>
                  </a:lnTo>
                  <a:lnTo>
                    <a:pt x="27223" y="57766"/>
                  </a:lnTo>
                  <a:lnTo>
                    <a:pt x="7193" y="96498"/>
                  </a:lnTo>
                  <a:lnTo>
                    <a:pt x="0" y="141097"/>
                  </a:lnTo>
                  <a:lnTo>
                    <a:pt x="0" y="962088"/>
                  </a:lnTo>
                  <a:lnTo>
                    <a:pt x="7193" y="1006686"/>
                  </a:lnTo>
                  <a:lnTo>
                    <a:pt x="27223" y="1045419"/>
                  </a:lnTo>
                  <a:lnTo>
                    <a:pt x="57766" y="1075962"/>
                  </a:lnTo>
                  <a:lnTo>
                    <a:pt x="96498" y="1095992"/>
                  </a:lnTo>
                  <a:lnTo>
                    <a:pt x="141097" y="1103185"/>
                  </a:lnTo>
                  <a:lnTo>
                    <a:pt x="975969" y="1103185"/>
                  </a:lnTo>
                  <a:lnTo>
                    <a:pt x="1020567" y="1095992"/>
                  </a:lnTo>
                  <a:lnTo>
                    <a:pt x="1059300" y="1075962"/>
                  </a:lnTo>
                  <a:lnTo>
                    <a:pt x="1089843" y="1045419"/>
                  </a:lnTo>
                  <a:lnTo>
                    <a:pt x="1109873" y="1006686"/>
                  </a:lnTo>
                  <a:lnTo>
                    <a:pt x="1117066" y="962088"/>
                  </a:lnTo>
                  <a:lnTo>
                    <a:pt x="1117066" y="141097"/>
                  </a:lnTo>
                  <a:lnTo>
                    <a:pt x="1109873" y="96498"/>
                  </a:lnTo>
                  <a:lnTo>
                    <a:pt x="1089843" y="57766"/>
                  </a:lnTo>
                  <a:lnTo>
                    <a:pt x="1059300" y="27223"/>
                  </a:lnTo>
                  <a:lnTo>
                    <a:pt x="1020567" y="7193"/>
                  </a:lnTo>
                  <a:lnTo>
                    <a:pt x="975969" y="0"/>
                  </a:lnTo>
                  <a:close/>
                </a:path>
              </a:pathLst>
            </a:custGeom>
            <a:solidFill>
              <a:srgbClr val="E2E2E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2" name="Graphic 31">
              <a:extLst>
                <a:ext uri="{FF2B5EF4-FFF2-40B4-BE49-F238E27FC236}">
                  <a16:creationId xmlns:a16="http://schemas.microsoft.com/office/drawing/2014/main" id="{2088306A-AA34-2FA8-6B6D-FB2AD3A4DE45}"/>
                </a:ext>
              </a:extLst>
            </p:cNvPr>
            <p:cNvPicPr>
              <a:picLocks noChangeAspect="1"/>
            </p:cNvPicPr>
            <p:nvPr>
              <p:custDataLst>
                <p:tags r:id="rId5"/>
              </p:custDataLst>
            </p:nvPr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6446164" y="8727757"/>
              <a:ext cx="648969" cy="648969"/>
            </a:xfrm>
            <a:prstGeom prst="rect">
              <a:avLst/>
            </a:prstGeom>
          </p:spPr>
        </p:pic>
      </p:grpSp>
      <p:pic>
        <p:nvPicPr>
          <p:cNvPr id="107" name="object 107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29175" y="8492223"/>
            <a:ext cx="1117053" cy="1103172"/>
          </a:xfrm>
          <a:prstGeom prst="roundRect">
            <a:avLst>
              <a:gd name="adj" fmla="val 12715"/>
            </a:avLst>
          </a:prstGeom>
        </p:spPr>
      </p:pic>
      <p:sp>
        <p:nvSpPr>
          <p:cNvPr id="109" name="object 109"/>
          <p:cNvSpPr txBox="1"/>
          <p:nvPr/>
        </p:nvSpPr>
        <p:spPr>
          <a:xfrm>
            <a:off x="648387" y="9087669"/>
            <a:ext cx="3090175" cy="427355"/>
          </a:xfrm>
          <a:prstGeom prst="rect">
            <a:avLst/>
          </a:prstGeom>
        </p:spPr>
        <p:txBody>
          <a:bodyPr vert="horz" wrap="square" lIns="108000" tIns="0" rIns="0" bIns="0" rtlCol="0">
            <a:no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300" b="1" dirty="0">
                <a:solidFill>
                  <a:schemeClr val="accent2"/>
                </a:solidFill>
                <a:latin typeface="Alliance No.2"/>
                <a:cs typeface="Alliance No.2"/>
              </a:rPr>
              <a:t>For</a:t>
            </a:r>
            <a:r>
              <a:rPr sz="1300" b="1" spc="-20" dirty="0">
                <a:solidFill>
                  <a:schemeClr val="accent2"/>
                </a:solidFill>
                <a:latin typeface="Alliance No.2"/>
                <a:cs typeface="Alliance No.2"/>
              </a:rPr>
              <a:t> </a:t>
            </a:r>
            <a:r>
              <a:rPr sz="1300" b="1" dirty="0">
                <a:solidFill>
                  <a:schemeClr val="accent2"/>
                </a:solidFill>
                <a:latin typeface="Alliance No.2"/>
                <a:cs typeface="Alliance No.2"/>
              </a:rPr>
              <a:t>more</a:t>
            </a:r>
            <a:r>
              <a:rPr sz="1300" b="1" spc="-15" dirty="0">
                <a:solidFill>
                  <a:schemeClr val="accent2"/>
                </a:solidFill>
                <a:latin typeface="Alliance No.2"/>
                <a:cs typeface="Alliance No.2"/>
              </a:rPr>
              <a:t> </a:t>
            </a:r>
            <a:r>
              <a:rPr sz="1300" b="1" spc="-10" dirty="0">
                <a:solidFill>
                  <a:schemeClr val="accent2"/>
                </a:solidFill>
                <a:latin typeface="Alliance No.2"/>
                <a:cs typeface="Alliance No.2"/>
              </a:rPr>
              <a:t>information</a:t>
            </a:r>
            <a:r>
              <a:rPr sz="1300" b="1" spc="-15" dirty="0">
                <a:solidFill>
                  <a:schemeClr val="accent2"/>
                </a:solidFill>
                <a:latin typeface="Alliance No.2"/>
                <a:cs typeface="Alliance No.2"/>
              </a:rPr>
              <a:t> </a:t>
            </a:r>
            <a:r>
              <a:rPr sz="1300" b="1" dirty="0">
                <a:solidFill>
                  <a:schemeClr val="accent2"/>
                </a:solidFill>
                <a:latin typeface="Alliance No.2"/>
                <a:cs typeface="Alliance No.2"/>
              </a:rPr>
              <a:t>register</a:t>
            </a:r>
            <a:r>
              <a:rPr sz="1300" b="1" spc="-15" dirty="0">
                <a:solidFill>
                  <a:schemeClr val="accent2"/>
                </a:solidFill>
                <a:latin typeface="Alliance No.2"/>
                <a:cs typeface="Alliance No.2"/>
              </a:rPr>
              <a:t> </a:t>
            </a:r>
            <a:r>
              <a:rPr sz="1300" b="1" spc="-25" dirty="0">
                <a:solidFill>
                  <a:schemeClr val="accent2"/>
                </a:solidFill>
                <a:latin typeface="Alliance No.2"/>
                <a:cs typeface="Alliance No.2"/>
              </a:rPr>
              <a:t>at:</a:t>
            </a:r>
            <a:endParaRPr sz="1300" dirty="0">
              <a:solidFill>
                <a:schemeClr val="accent2"/>
              </a:solidFill>
              <a:latin typeface="Alliance No.2"/>
              <a:cs typeface="Alliance No.2"/>
            </a:endParaRPr>
          </a:p>
          <a:p>
            <a:pPr marL="12700">
              <a:lnSpc>
                <a:spcPct val="100000"/>
              </a:lnSpc>
              <a:spcBef>
                <a:spcPts val="40"/>
              </a:spcBef>
            </a:pPr>
            <a:r>
              <a:rPr sz="1300" b="0" u="sng" spc="-10" dirty="0">
                <a:solidFill>
                  <a:schemeClr val="accent2"/>
                </a:solidFill>
                <a:uFill>
                  <a:solidFill>
                    <a:srgbClr val="1E7DED"/>
                  </a:solidFill>
                </a:uFill>
                <a:latin typeface="Alliance No.2 Medium"/>
                <a:cs typeface="Alliance No.2 Medium"/>
                <a:hlinkClick r:id="rId1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ohnsmith@spacecenter.org</a:t>
            </a:r>
            <a:endParaRPr sz="1300" dirty="0">
              <a:solidFill>
                <a:schemeClr val="accent2"/>
              </a:solidFill>
              <a:latin typeface="Alliance No.2 Medium"/>
              <a:cs typeface="Alliance No.2 Medium"/>
            </a:endParaRPr>
          </a:p>
        </p:txBody>
      </p:sp>
      <p:sp>
        <p:nvSpPr>
          <p:cNvPr id="115" name="object 12">
            <a:extLst>
              <a:ext uri="{FF2B5EF4-FFF2-40B4-BE49-F238E27FC236}">
                <a16:creationId xmlns:a16="http://schemas.microsoft.com/office/drawing/2014/main" id="{335E4BC5-5D3B-1DDC-BEC7-472058DE1A4D}"/>
              </a:ext>
            </a:extLst>
          </p:cNvPr>
          <p:cNvSpPr txBox="1"/>
          <p:nvPr/>
        </p:nvSpPr>
        <p:spPr>
          <a:xfrm>
            <a:off x="476249" y="4577512"/>
            <a:ext cx="4112031" cy="3224705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 algn="l">
              <a:lnSpc>
                <a:spcPct val="100000"/>
              </a:lnSpc>
              <a:spcBef>
                <a:spcPts val="600"/>
              </a:spcBef>
              <a:spcAft>
                <a:spcPts val="800"/>
              </a:spcAft>
            </a:pPr>
            <a:r>
              <a:rPr spc="9" dirty="0">
                <a:solidFill>
                  <a:schemeClr val="tx2"/>
                </a:solidFill>
                <a:latin typeface="Alliance No.2 Medium" pitchFamily="50" charset="0"/>
              </a:rPr>
              <a:t>Lorem ipsum dolor sit </a:t>
            </a:r>
            <a:r>
              <a:rPr spc="9" dirty="0" err="1">
                <a:solidFill>
                  <a:schemeClr val="tx2"/>
                </a:solidFill>
                <a:latin typeface="Alliance No.2 Medium" pitchFamily="50" charset="0"/>
              </a:rPr>
              <a:t>ame</a:t>
            </a:r>
            <a:r>
              <a:rPr lang="en-GB" spc="9" dirty="0">
                <a:solidFill>
                  <a:schemeClr val="tx2"/>
                </a:solidFill>
                <a:latin typeface="Alliance No.2 Medium" pitchFamily="50" charset="0"/>
              </a:rPr>
              <a:t>t</a:t>
            </a:r>
          </a:p>
          <a:p>
            <a:pPr>
              <a:lnSpc>
                <a:spcPct val="116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GB" sz="1000" dirty="0">
                <a:solidFill>
                  <a:schemeClr val="tx2"/>
                </a:solidFill>
                <a:latin typeface="Alliance No.2"/>
              </a:rPr>
              <a:t>Lorem ipsum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dolor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sit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amet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,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consectetuer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adipiscing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elit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,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sed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Maecenas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porttitor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congue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massa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.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Fusce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posuere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, magna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sed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pulvinar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ultricies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,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purus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lectus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malesuada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libero, sit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amet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commodo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magna eros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quis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urna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. Nunc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viverra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imperdiet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enim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.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Fusce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est.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Vivamus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a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tellus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.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Pellentesque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habitant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morbi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tristique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senectus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et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netus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et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malesuada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fames ac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turpis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egestas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. Lorem ipsum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dolor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sit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amet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,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consectetuer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adipiscing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elit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. Maecenas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porttitor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congue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massa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.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Fusce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posuere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, magna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sed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pulvinar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ultricies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,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purus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lectus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malesuada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libero.</a:t>
            </a:r>
          </a:p>
          <a:p>
            <a:pPr marR="0" lvl="0" indent="0" algn="l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lang="da-DK" spc="9" dirty="0">
                <a:solidFill>
                  <a:schemeClr val="tx2"/>
                </a:solidFill>
                <a:latin typeface="Alliance No.2 Medium" pitchFamily="50" charset="0"/>
              </a:rPr>
              <a:t>Lorem ipsum dolor sit amet</a:t>
            </a:r>
          </a:p>
          <a:p>
            <a:pPr marL="9525" lvl="2" indent="168275">
              <a:spcBef>
                <a:spcPts val="100"/>
              </a:spcBef>
              <a:buFont typeface="Arial" panose="020B0604020202020204" pitchFamily="34" charset="0"/>
              <a:buChar char="•"/>
              <a:defRPr/>
            </a:pPr>
            <a:r>
              <a:rPr kumimoji="0" lang="en-GB" sz="105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 pitchFamily="50" charset="0"/>
                <a:cs typeface="Alliance No.2"/>
              </a:rPr>
              <a:t>Lorem ipsum </a:t>
            </a:r>
            <a:r>
              <a:rPr kumimoji="0" lang="en-GB" sz="105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 pitchFamily="50" charset="0"/>
                <a:cs typeface="Alliance No.2"/>
              </a:rPr>
              <a:t>dolor</a:t>
            </a:r>
            <a:r>
              <a:rPr kumimoji="0" lang="en-GB" sz="105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 pitchFamily="50" charset="0"/>
                <a:cs typeface="Alliance No.2"/>
              </a:rPr>
              <a:t> sit </a:t>
            </a:r>
            <a:r>
              <a:rPr kumimoji="0" lang="en-GB" sz="105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 pitchFamily="50" charset="0"/>
                <a:cs typeface="Alliance No.2"/>
              </a:rPr>
              <a:t>amet</a:t>
            </a:r>
            <a:r>
              <a:rPr kumimoji="0" lang="en-GB" sz="105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 pitchFamily="50" charset="0"/>
                <a:cs typeface="Alliance No.2"/>
              </a:rPr>
              <a:t>, </a:t>
            </a:r>
            <a:r>
              <a:rPr kumimoji="0" lang="en-GB" sz="105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 pitchFamily="50" charset="0"/>
                <a:cs typeface="Alliance No.2"/>
              </a:rPr>
              <a:t>consectetuer</a:t>
            </a:r>
            <a:r>
              <a:rPr kumimoji="0" lang="en-GB" sz="105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 pitchFamily="50" charset="0"/>
                <a:cs typeface="Alliance No.2"/>
              </a:rPr>
              <a:t> </a:t>
            </a:r>
            <a:r>
              <a:rPr kumimoji="0" lang="en-GB" sz="105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 pitchFamily="50" charset="0"/>
                <a:cs typeface="Alliance No.2"/>
              </a:rPr>
              <a:t>adipiscing</a:t>
            </a:r>
            <a:r>
              <a:rPr kumimoji="0" lang="en-GB" sz="105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 pitchFamily="50" charset="0"/>
                <a:cs typeface="Alliance No.2"/>
              </a:rPr>
              <a:t> </a:t>
            </a:r>
            <a:r>
              <a:rPr kumimoji="0" lang="en-GB" sz="105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 pitchFamily="50" charset="0"/>
                <a:cs typeface="Alliance No.2"/>
              </a:rPr>
              <a:t>elit</a:t>
            </a:r>
            <a:endParaRPr kumimoji="0" lang="en-GB" sz="1050" b="0" i="0" u="none" strike="noStrike" kern="0" cap="none" spc="1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lliance No.2" pitchFamily="50" charset="0"/>
              <a:cs typeface="Alliance No.2"/>
            </a:endParaRPr>
          </a:p>
          <a:p>
            <a:pPr marL="9525" lvl="2" indent="168275">
              <a:spcBef>
                <a:spcPts val="100"/>
              </a:spcBef>
              <a:buFont typeface="Arial" panose="020B0604020202020204" pitchFamily="34" charset="0"/>
              <a:buChar char="•"/>
              <a:defRPr/>
            </a:pPr>
            <a:r>
              <a:rPr kumimoji="0" lang="en-GB" sz="105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 pitchFamily="50" charset="0"/>
                <a:cs typeface="Alliance No.2"/>
              </a:rPr>
              <a:t>Lorem ipsum </a:t>
            </a:r>
            <a:r>
              <a:rPr kumimoji="0" lang="en-GB" sz="105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 pitchFamily="50" charset="0"/>
                <a:cs typeface="Alliance No.2"/>
              </a:rPr>
              <a:t>dolor</a:t>
            </a:r>
            <a:r>
              <a:rPr kumimoji="0" lang="en-GB" sz="105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 pitchFamily="50" charset="0"/>
                <a:cs typeface="Alliance No.2"/>
              </a:rPr>
              <a:t> sit </a:t>
            </a:r>
            <a:r>
              <a:rPr kumimoji="0" lang="en-GB" sz="105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 pitchFamily="50" charset="0"/>
                <a:cs typeface="Alliance No.2"/>
              </a:rPr>
              <a:t>amet</a:t>
            </a:r>
            <a:r>
              <a:rPr kumimoji="0" lang="en-GB" sz="105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 pitchFamily="50" charset="0"/>
                <a:cs typeface="Alliance No.2"/>
              </a:rPr>
              <a:t>, </a:t>
            </a:r>
            <a:r>
              <a:rPr kumimoji="0" lang="en-GB" sz="105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 pitchFamily="50" charset="0"/>
                <a:cs typeface="Alliance No.2"/>
              </a:rPr>
              <a:t>consectetuer</a:t>
            </a:r>
            <a:r>
              <a:rPr kumimoji="0" lang="en-GB" sz="105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 pitchFamily="50" charset="0"/>
                <a:cs typeface="Alliance No.2"/>
              </a:rPr>
              <a:t> </a:t>
            </a:r>
            <a:r>
              <a:rPr kumimoji="0" lang="en-GB" sz="105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 pitchFamily="50" charset="0"/>
                <a:cs typeface="Alliance No.2"/>
              </a:rPr>
              <a:t>adipiscing</a:t>
            </a:r>
            <a:r>
              <a:rPr kumimoji="0" lang="en-GB" sz="105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 pitchFamily="50" charset="0"/>
                <a:cs typeface="Alliance No.2"/>
              </a:rPr>
              <a:t> </a:t>
            </a:r>
            <a:r>
              <a:rPr kumimoji="0" lang="en-GB" sz="105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 pitchFamily="50" charset="0"/>
                <a:cs typeface="Alliance No.2"/>
              </a:rPr>
              <a:t>elit</a:t>
            </a:r>
            <a:endParaRPr kumimoji="0" lang="en-GB" sz="1050" b="0" i="0" u="none" strike="noStrike" kern="0" cap="none" spc="1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lliance No.2" pitchFamily="50" charset="0"/>
              <a:cs typeface="Alliance No.2"/>
            </a:endParaRPr>
          </a:p>
          <a:p>
            <a:pPr marL="9525" lvl="2" indent="168275">
              <a:spcBef>
                <a:spcPts val="100"/>
              </a:spcBef>
              <a:buFont typeface="Arial" panose="020B0604020202020204" pitchFamily="34" charset="0"/>
              <a:buChar char="•"/>
              <a:defRPr/>
            </a:pPr>
            <a:r>
              <a:rPr kumimoji="0" lang="en-GB" sz="105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 pitchFamily="50" charset="0"/>
                <a:cs typeface="Alliance No.2"/>
              </a:rPr>
              <a:t>Lorem ipsum </a:t>
            </a:r>
            <a:r>
              <a:rPr kumimoji="0" lang="en-GB" sz="105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 pitchFamily="50" charset="0"/>
                <a:cs typeface="Alliance No.2"/>
              </a:rPr>
              <a:t>dolor</a:t>
            </a:r>
            <a:r>
              <a:rPr kumimoji="0" lang="en-GB" sz="105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 pitchFamily="50" charset="0"/>
                <a:cs typeface="Alliance No.2"/>
              </a:rPr>
              <a:t> sit </a:t>
            </a:r>
            <a:r>
              <a:rPr kumimoji="0" lang="en-GB" sz="105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 pitchFamily="50" charset="0"/>
                <a:cs typeface="Alliance No.2"/>
              </a:rPr>
              <a:t>amet</a:t>
            </a:r>
            <a:r>
              <a:rPr kumimoji="0" lang="en-GB" sz="105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 pitchFamily="50" charset="0"/>
                <a:cs typeface="Alliance No.2"/>
              </a:rPr>
              <a:t>, </a:t>
            </a:r>
            <a:r>
              <a:rPr kumimoji="0" lang="en-GB" sz="105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 pitchFamily="50" charset="0"/>
                <a:cs typeface="Alliance No.2"/>
              </a:rPr>
              <a:t>consectetuer</a:t>
            </a:r>
            <a:r>
              <a:rPr kumimoji="0" lang="en-GB" sz="105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 pitchFamily="50" charset="0"/>
                <a:cs typeface="Alliance No.2"/>
              </a:rPr>
              <a:t> </a:t>
            </a:r>
            <a:r>
              <a:rPr kumimoji="0" lang="en-GB" sz="105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 pitchFamily="50" charset="0"/>
                <a:cs typeface="Alliance No.2"/>
              </a:rPr>
              <a:t>adipiscing</a:t>
            </a:r>
            <a:r>
              <a:rPr kumimoji="0" lang="en-GB" sz="105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 pitchFamily="50" charset="0"/>
                <a:cs typeface="Alliance No.2"/>
              </a:rPr>
              <a:t> </a:t>
            </a:r>
            <a:r>
              <a:rPr kumimoji="0" lang="en-GB" sz="105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 pitchFamily="50" charset="0"/>
                <a:cs typeface="Alliance No.2"/>
              </a:rPr>
              <a:t>elit</a:t>
            </a:r>
            <a:endParaRPr kumimoji="0" lang="en-GB" sz="1050" b="0" i="0" u="none" strike="noStrike" kern="0" cap="none" spc="1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lliance No.2" pitchFamily="50" charset="0"/>
              <a:cs typeface="Alliance No.2"/>
            </a:endParaRPr>
          </a:p>
          <a:p>
            <a:pPr marL="9525" lvl="2" indent="168275">
              <a:spcBef>
                <a:spcPts val="100"/>
              </a:spcBef>
              <a:buFont typeface="Arial" panose="020B0604020202020204" pitchFamily="34" charset="0"/>
              <a:buChar char="•"/>
              <a:defRPr/>
            </a:pPr>
            <a:r>
              <a:rPr kumimoji="0" lang="en-GB" sz="105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 pitchFamily="50" charset="0"/>
                <a:cs typeface="Alliance No.2"/>
              </a:rPr>
              <a:t>Lorem ipsum </a:t>
            </a:r>
            <a:r>
              <a:rPr kumimoji="0" lang="en-GB" sz="105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 pitchFamily="50" charset="0"/>
                <a:cs typeface="Alliance No.2"/>
              </a:rPr>
              <a:t>dolor</a:t>
            </a:r>
            <a:r>
              <a:rPr kumimoji="0" lang="en-GB" sz="105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 pitchFamily="50" charset="0"/>
                <a:cs typeface="Alliance No.2"/>
              </a:rPr>
              <a:t> sit </a:t>
            </a:r>
            <a:r>
              <a:rPr kumimoji="0" lang="en-GB" sz="105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 pitchFamily="50" charset="0"/>
                <a:cs typeface="Alliance No.2"/>
              </a:rPr>
              <a:t>amet</a:t>
            </a:r>
            <a:r>
              <a:rPr kumimoji="0" lang="en-GB" sz="105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 pitchFamily="50" charset="0"/>
                <a:cs typeface="Alliance No.2"/>
              </a:rPr>
              <a:t>, </a:t>
            </a:r>
            <a:r>
              <a:rPr kumimoji="0" lang="en-GB" sz="105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 pitchFamily="50" charset="0"/>
                <a:cs typeface="Alliance No.2"/>
              </a:rPr>
              <a:t>consectetuer</a:t>
            </a:r>
            <a:r>
              <a:rPr kumimoji="0" lang="en-GB" sz="105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 pitchFamily="50" charset="0"/>
                <a:cs typeface="Alliance No.2"/>
              </a:rPr>
              <a:t> </a:t>
            </a:r>
            <a:r>
              <a:rPr kumimoji="0" lang="en-GB" sz="105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 pitchFamily="50" charset="0"/>
                <a:cs typeface="Alliance No.2"/>
              </a:rPr>
              <a:t>adipiscing</a:t>
            </a:r>
            <a:r>
              <a:rPr kumimoji="0" lang="en-GB" sz="105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 pitchFamily="50" charset="0"/>
                <a:cs typeface="Alliance No.2"/>
              </a:rPr>
              <a:t> </a:t>
            </a:r>
            <a:r>
              <a:rPr kumimoji="0" lang="en-GB" sz="105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 pitchFamily="50" charset="0"/>
                <a:cs typeface="Alliance No.2"/>
              </a:rPr>
              <a:t>elit</a:t>
            </a:r>
            <a:endParaRPr kumimoji="0" lang="en-GB" sz="1050" b="0" i="0" u="none" strike="noStrike" kern="0" cap="none" spc="1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lliance No.2" pitchFamily="50" charset="0"/>
              <a:cs typeface="Alliance No.2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7400593-85AF-106F-550B-E2849F0B6E62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487655" y="9119612"/>
            <a:ext cx="176169" cy="155443"/>
          </a:xfrm>
          <a:prstGeom prst="rect">
            <a:avLst/>
          </a:prstGeom>
        </p:spPr>
      </p:pic>
      <p:sp>
        <p:nvSpPr>
          <p:cNvPr id="15" name="object 12">
            <a:extLst>
              <a:ext uri="{FF2B5EF4-FFF2-40B4-BE49-F238E27FC236}">
                <a16:creationId xmlns:a16="http://schemas.microsoft.com/office/drawing/2014/main" id="{057BBC41-595B-37FB-EEC6-23CAE3A1CF25}"/>
              </a:ext>
            </a:extLst>
          </p:cNvPr>
          <p:cNvSpPr txBox="1"/>
          <p:nvPr/>
        </p:nvSpPr>
        <p:spPr>
          <a:xfrm>
            <a:off x="476249" y="7954650"/>
            <a:ext cx="4112031" cy="948644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 algn="l">
              <a:lnSpc>
                <a:spcPct val="100000"/>
              </a:lnSpc>
              <a:spcBef>
                <a:spcPts val="600"/>
              </a:spcBef>
              <a:spcAft>
                <a:spcPts val="800"/>
              </a:spcAft>
            </a:pPr>
            <a:r>
              <a:rPr spc="9" dirty="0">
                <a:solidFill>
                  <a:schemeClr val="tx2"/>
                </a:solidFill>
                <a:latin typeface="Alliance No.2 Medium" pitchFamily="50" charset="0"/>
              </a:rPr>
              <a:t>Lorem ipsum dolor sit </a:t>
            </a:r>
            <a:r>
              <a:rPr spc="9" dirty="0" err="1">
                <a:solidFill>
                  <a:schemeClr val="tx2"/>
                </a:solidFill>
                <a:latin typeface="Alliance No.2 Medium" pitchFamily="50" charset="0"/>
              </a:rPr>
              <a:t>ame</a:t>
            </a:r>
            <a:r>
              <a:rPr lang="en-GB" spc="9" dirty="0">
                <a:solidFill>
                  <a:schemeClr val="tx2"/>
                </a:solidFill>
                <a:latin typeface="Alliance No.2 Medium" pitchFamily="50" charset="0"/>
              </a:rPr>
              <a:t>t</a:t>
            </a:r>
          </a:p>
          <a:p>
            <a:pPr>
              <a:lnSpc>
                <a:spcPct val="116000"/>
              </a:lnSpc>
              <a:spcBef>
                <a:spcPts val="0"/>
              </a:spcBef>
              <a:spcAft>
                <a:spcPts val="600"/>
              </a:spcAft>
              <a:defRPr/>
            </a:pPr>
            <a:r>
              <a:rPr lang="en-GB" sz="1000" dirty="0">
                <a:solidFill>
                  <a:schemeClr val="tx2"/>
                </a:solidFill>
                <a:latin typeface="Alliance No.2"/>
              </a:rPr>
              <a:t>Lorem ipsum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dolor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sit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amet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,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consectetuer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adipiscing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elit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,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sed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Maecenas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porttitor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congue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massa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.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Fusce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posuere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, magna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sed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pulvinar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ultricies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,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purus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lectus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</a:t>
            </a:r>
            <a:r>
              <a:rPr lang="en-GB" sz="1000" dirty="0" err="1">
                <a:solidFill>
                  <a:schemeClr val="tx2"/>
                </a:solidFill>
                <a:latin typeface="Alliance No.2"/>
              </a:rPr>
              <a:t>malesuada</a:t>
            </a:r>
            <a:r>
              <a:rPr lang="en-GB" sz="1000" dirty="0">
                <a:solidFill>
                  <a:schemeClr val="tx2"/>
                </a:solidFill>
                <a:latin typeface="Alliance No.2"/>
              </a:rPr>
              <a:t> libero.</a:t>
            </a:r>
            <a:endParaRPr kumimoji="0" lang="en-GB" sz="1050" b="0" i="0" u="none" strike="noStrike" kern="0" cap="none" spc="1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lliance No.2" pitchFamily="50" charset="0"/>
              <a:cs typeface="Alliance No.2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g object 18">
            <a:extLst>
              <a:ext uri="{FF2B5EF4-FFF2-40B4-BE49-F238E27FC236}">
                <a16:creationId xmlns:a16="http://schemas.microsoft.com/office/drawing/2014/main" id="{1A9EE2AF-FB71-DF38-C925-1A5F4C4763D3}"/>
              </a:ext>
            </a:extLst>
          </p:cNvPr>
          <p:cNvSpPr/>
          <p:nvPr/>
        </p:nvSpPr>
        <p:spPr>
          <a:xfrm>
            <a:off x="1" y="5"/>
            <a:ext cx="7314565" cy="4239260"/>
          </a:xfrm>
          <a:custGeom>
            <a:avLst/>
            <a:gdLst/>
            <a:ahLst/>
            <a:cxnLst/>
            <a:rect l="l" t="t" r="r" b="b"/>
            <a:pathLst>
              <a:path w="7314565" h="4239260">
                <a:moveTo>
                  <a:pt x="7314247" y="0"/>
                </a:moveTo>
                <a:lnTo>
                  <a:pt x="0" y="0"/>
                </a:lnTo>
                <a:lnTo>
                  <a:pt x="0" y="4238739"/>
                </a:lnTo>
                <a:lnTo>
                  <a:pt x="6857047" y="4238739"/>
                </a:lnTo>
                <a:lnTo>
                  <a:pt x="6903793" y="4236378"/>
                </a:lnTo>
                <a:lnTo>
                  <a:pt x="6949188" y="4229450"/>
                </a:lnTo>
                <a:lnTo>
                  <a:pt x="6993003" y="4218184"/>
                </a:lnTo>
                <a:lnTo>
                  <a:pt x="7035009" y="4202809"/>
                </a:lnTo>
                <a:lnTo>
                  <a:pt x="7074974" y="4183557"/>
                </a:lnTo>
                <a:lnTo>
                  <a:pt x="7112670" y="4160655"/>
                </a:lnTo>
                <a:lnTo>
                  <a:pt x="7147867" y="4134336"/>
                </a:lnTo>
                <a:lnTo>
                  <a:pt x="7180335" y="4104827"/>
                </a:lnTo>
                <a:lnTo>
                  <a:pt x="7209844" y="4072359"/>
                </a:lnTo>
                <a:lnTo>
                  <a:pt x="7236164" y="4037162"/>
                </a:lnTo>
                <a:lnTo>
                  <a:pt x="7259065" y="3999466"/>
                </a:lnTo>
                <a:lnTo>
                  <a:pt x="7278318" y="3959500"/>
                </a:lnTo>
                <a:lnTo>
                  <a:pt x="7293692" y="3917495"/>
                </a:lnTo>
                <a:lnTo>
                  <a:pt x="7304958" y="3873680"/>
                </a:lnTo>
                <a:lnTo>
                  <a:pt x="7311886" y="3828284"/>
                </a:lnTo>
                <a:lnTo>
                  <a:pt x="7314247" y="3781539"/>
                </a:lnTo>
                <a:lnTo>
                  <a:pt x="7314247" y="0"/>
                </a:lnTo>
                <a:close/>
              </a:path>
            </a:pathLst>
          </a:custGeom>
          <a:solidFill>
            <a:srgbClr val="DFEFFC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ED3C35D-7017-5337-32B0-1AB5531CD649}"/>
              </a:ext>
            </a:extLst>
          </p:cNvPr>
          <p:cNvGrpSpPr/>
          <p:nvPr/>
        </p:nvGrpSpPr>
        <p:grpSpPr>
          <a:xfrm>
            <a:off x="458587" y="450000"/>
            <a:ext cx="1237157" cy="548875"/>
            <a:chOff x="458587" y="458194"/>
            <a:chExt cx="1237157" cy="548875"/>
          </a:xfrm>
        </p:grpSpPr>
        <p:pic>
          <p:nvPicPr>
            <p:cNvPr id="16" name="object 208">
              <a:extLst>
                <a:ext uri="{FF2B5EF4-FFF2-40B4-BE49-F238E27FC236}">
                  <a16:creationId xmlns:a16="http://schemas.microsoft.com/office/drawing/2014/main" id="{D3045204-D267-51F1-F3C4-1864909DD842}"/>
                </a:ext>
              </a:extLst>
            </p:cNvPr>
            <p:cNvPicPr/>
            <p:nvPr>
              <p:custDataLst>
                <p:tags r:id="rId4"/>
              </p:custDataLst>
            </p:nvPr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86090" y="477666"/>
              <a:ext cx="809654" cy="529403"/>
            </a:xfrm>
            <a:prstGeom prst="rect">
              <a:avLst/>
            </a:prstGeom>
          </p:spPr>
        </p:pic>
        <p:grpSp>
          <p:nvGrpSpPr>
            <p:cNvPr id="17" name="object 209">
              <a:extLst>
                <a:ext uri="{FF2B5EF4-FFF2-40B4-BE49-F238E27FC236}">
                  <a16:creationId xmlns:a16="http://schemas.microsoft.com/office/drawing/2014/main" id="{7BEAFCBA-07C6-B435-DACA-5FDBAB7E6CFA}"/>
                </a:ext>
              </a:extLst>
            </p:cNvPr>
            <p:cNvGrpSpPr/>
            <p:nvPr/>
          </p:nvGrpSpPr>
          <p:grpSpPr>
            <a:xfrm>
              <a:off x="458587" y="458194"/>
              <a:ext cx="353695" cy="383540"/>
              <a:chOff x="458587" y="458194"/>
              <a:chExt cx="353695" cy="383540"/>
            </a:xfrm>
          </p:grpSpPr>
          <p:pic>
            <p:nvPicPr>
              <p:cNvPr id="18" name="object 210">
                <a:extLst>
                  <a:ext uri="{FF2B5EF4-FFF2-40B4-BE49-F238E27FC236}">
                    <a16:creationId xmlns:a16="http://schemas.microsoft.com/office/drawing/2014/main" id="{64E541EF-8B71-3E25-40FF-C504126FE956}"/>
                  </a:ext>
                </a:extLst>
              </p:cNvPr>
              <p:cNvPicPr/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75741" y="590459"/>
                <a:ext cx="118986" cy="118986"/>
              </a:xfrm>
              <a:prstGeom prst="rect">
                <a:avLst/>
              </a:prstGeom>
            </p:spPr>
          </p:pic>
          <p:sp>
            <p:nvSpPr>
              <p:cNvPr id="19" name="object 211">
                <a:extLst>
                  <a:ext uri="{FF2B5EF4-FFF2-40B4-BE49-F238E27FC236}">
                    <a16:creationId xmlns:a16="http://schemas.microsoft.com/office/drawing/2014/main" id="{FEC91661-3DF3-ED3D-6DAF-43409330D117}"/>
                  </a:ext>
                </a:extLst>
              </p:cNvPr>
              <p:cNvSpPr/>
              <p:nvPr/>
            </p:nvSpPr>
            <p:spPr>
              <a:xfrm>
                <a:off x="458584" y="458202"/>
                <a:ext cx="353695" cy="383540"/>
              </a:xfrm>
              <a:custGeom>
                <a:avLst/>
                <a:gdLst/>
                <a:ahLst/>
                <a:cxnLst/>
                <a:rect l="l" t="t" r="r" b="b"/>
                <a:pathLst>
                  <a:path w="353695" h="383540">
                    <a:moveTo>
                      <a:pt x="289636" y="92748"/>
                    </a:moveTo>
                    <a:lnTo>
                      <a:pt x="231648" y="53365"/>
                    </a:lnTo>
                    <a:lnTo>
                      <a:pt x="178638" y="27279"/>
                    </a:lnTo>
                    <a:lnTo>
                      <a:pt x="129768" y="9779"/>
                    </a:lnTo>
                    <a:lnTo>
                      <a:pt x="86499" y="736"/>
                    </a:lnTo>
                    <a:lnTo>
                      <a:pt x="50330" y="0"/>
                    </a:lnTo>
                    <a:lnTo>
                      <a:pt x="22745" y="7404"/>
                    </a:lnTo>
                    <a:lnTo>
                      <a:pt x="5245" y="22821"/>
                    </a:lnTo>
                    <a:lnTo>
                      <a:pt x="0" y="55778"/>
                    </a:lnTo>
                    <a:lnTo>
                      <a:pt x="16421" y="97129"/>
                    </a:lnTo>
                    <a:lnTo>
                      <a:pt x="51752" y="143167"/>
                    </a:lnTo>
                    <a:lnTo>
                      <a:pt x="103251" y="190169"/>
                    </a:lnTo>
                    <a:lnTo>
                      <a:pt x="104927" y="191477"/>
                    </a:lnTo>
                    <a:lnTo>
                      <a:pt x="107315" y="191350"/>
                    </a:lnTo>
                    <a:lnTo>
                      <a:pt x="108826" y="189839"/>
                    </a:lnTo>
                    <a:lnTo>
                      <a:pt x="110629" y="188036"/>
                    </a:lnTo>
                    <a:lnTo>
                      <a:pt x="110591" y="185331"/>
                    </a:lnTo>
                    <a:lnTo>
                      <a:pt x="108877" y="183692"/>
                    </a:lnTo>
                    <a:lnTo>
                      <a:pt x="74091" y="145821"/>
                    </a:lnTo>
                    <a:lnTo>
                      <a:pt x="51117" y="110007"/>
                    </a:lnTo>
                    <a:lnTo>
                      <a:pt x="41567" y="78333"/>
                    </a:lnTo>
                    <a:lnTo>
                      <a:pt x="46990" y="52908"/>
                    </a:lnTo>
                    <a:lnTo>
                      <a:pt x="71120" y="35483"/>
                    </a:lnTo>
                    <a:lnTo>
                      <a:pt x="110515" y="31724"/>
                    </a:lnTo>
                    <a:lnTo>
                      <a:pt x="161417" y="40894"/>
                    </a:lnTo>
                    <a:lnTo>
                      <a:pt x="220052" y="62293"/>
                    </a:lnTo>
                    <a:lnTo>
                      <a:pt x="284302" y="96202"/>
                    </a:lnTo>
                    <a:lnTo>
                      <a:pt x="286435" y="95961"/>
                    </a:lnTo>
                    <a:lnTo>
                      <a:pt x="289636" y="92748"/>
                    </a:lnTo>
                    <a:close/>
                  </a:path>
                  <a:path w="353695" h="383540">
                    <a:moveTo>
                      <a:pt x="353288" y="327723"/>
                    </a:moveTo>
                    <a:lnTo>
                      <a:pt x="336867" y="286372"/>
                    </a:lnTo>
                    <a:lnTo>
                      <a:pt x="301536" y="240347"/>
                    </a:lnTo>
                    <a:lnTo>
                      <a:pt x="250037" y="193344"/>
                    </a:lnTo>
                    <a:lnTo>
                      <a:pt x="248361" y="192024"/>
                    </a:lnTo>
                    <a:lnTo>
                      <a:pt x="245973" y="192163"/>
                    </a:lnTo>
                    <a:lnTo>
                      <a:pt x="242658" y="195465"/>
                    </a:lnTo>
                    <a:lnTo>
                      <a:pt x="242697" y="198183"/>
                    </a:lnTo>
                    <a:lnTo>
                      <a:pt x="244411" y="199809"/>
                    </a:lnTo>
                    <a:lnTo>
                      <a:pt x="279209" y="237680"/>
                    </a:lnTo>
                    <a:lnTo>
                      <a:pt x="302171" y="273494"/>
                    </a:lnTo>
                    <a:lnTo>
                      <a:pt x="311734" y="305168"/>
                    </a:lnTo>
                    <a:lnTo>
                      <a:pt x="306298" y="330593"/>
                    </a:lnTo>
                    <a:lnTo>
                      <a:pt x="282168" y="348018"/>
                    </a:lnTo>
                    <a:lnTo>
                      <a:pt x="242773" y="351790"/>
                    </a:lnTo>
                    <a:lnTo>
                      <a:pt x="191884" y="342620"/>
                    </a:lnTo>
                    <a:lnTo>
                      <a:pt x="133248" y="321221"/>
                    </a:lnTo>
                    <a:lnTo>
                      <a:pt x="68973" y="287299"/>
                    </a:lnTo>
                    <a:lnTo>
                      <a:pt x="66852" y="287553"/>
                    </a:lnTo>
                    <a:lnTo>
                      <a:pt x="63639" y="290753"/>
                    </a:lnTo>
                    <a:lnTo>
                      <a:pt x="63881" y="293827"/>
                    </a:lnTo>
                    <a:lnTo>
                      <a:pt x="121653" y="330149"/>
                    </a:lnTo>
                    <a:lnTo>
                      <a:pt x="174650" y="356235"/>
                    </a:lnTo>
                    <a:lnTo>
                      <a:pt x="223532" y="373722"/>
                    </a:lnTo>
                    <a:lnTo>
                      <a:pt x="266788" y="382765"/>
                    </a:lnTo>
                    <a:lnTo>
                      <a:pt x="302958" y="383501"/>
                    </a:lnTo>
                    <a:lnTo>
                      <a:pt x="330530" y="376097"/>
                    </a:lnTo>
                    <a:lnTo>
                      <a:pt x="348030" y="360680"/>
                    </a:lnTo>
                    <a:lnTo>
                      <a:pt x="353288" y="327723"/>
                    </a:lnTo>
                    <a:close/>
                  </a:path>
                </a:pathLst>
              </a:custGeom>
              <a:solidFill>
                <a:srgbClr val="000013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</p:grpSp>
      <p:pic>
        <p:nvPicPr>
          <p:cNvPr id="12" name="bg object 16">
            <a:extLst>
              <a:ext uri="{FF2B5EF4-FFF2-40B4-BE49-F238E27FC236}">
                <a16:creationId xmlns:a16="http://schemas.microsoft.com/office/drawing/2014/main" id="{DAA7EB5E-2917-766E-A506-A5AD3A42207F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4134" y="7032238"/>
            <a:ext cx="2037410" cy="1418297"/>
          </a:xfrm>
          <a:prstGeom prst="roundRect">
            <a:avLst>
              <a:gd name="adj" fmla="val 9890"/>
            </a:avLst>
          </a:prstGeom>
        </p:spPr>
      </p:pic>
      <p:pic>
        <p:nvPicPr>
          <p:cNvPr id="13" name="bg object 17">
            <a:extLst>
              <a:ext uri="{FF2B5EF4-FFF2-40B4-BE49-F238E27FC236}">
                <a16:creationId xmlns:a16="http://schemas.microsoft.com/office/drawing/2014/main" id="{79008968-5703-A69A-493D-027522FF5B16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4134" y="4666939"/>
            <a:ext cx="2053640" cy="2145880"/>
          </a:xfrm>
          <a:prstGeom prst="roundRect">
            <a:avLst>
              <a:gd name="adj" fmla="val 6537"/>
            </a:avLst>
          </a:prstGeom>
        </p:spPr>
      </p:pic>
      <p:sp>
        <p:nvSpPr>
          <p:cNvPr id="2" name="object 2"/>
          <p:cNvSpPr txBox="1"/>
          <p:nvPr/>
        </p:nvSpPr>
        <p:spPr>
          <a:xfrm>
            <a:off x="3084513" y="4671758"/>
            <a:ext cx="4219575" cy="288698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R="106045">
              <a:lnSpc>
                <a:spcPct val="100000"/>
              </a:lnSpc>
            </a:pPr>
            <a:r>
              <a:rPr sz="1800" b="0" dirty="0">
                <a:solidFill>
                  <a:schemeClr val="accent2"/>
                </a:solidFill>
                <a:latin typeface="Alliance No.2 Medium"/>
                <a:cs typeface="Alliance No.2 Medium"/>
              </a:rPr>
              <a:t>Lorem</a:t>
            </a:r>
            <a:r>
              <a:rPr sz="1800" b="0" spc="-10" dirty="0">
                <a:solidFill>
                  <a:schemeClr val="accent2"/>
                </a:solidFill>
                <a:latin typeface="Alliance No.2 Medium"/>
                <a:cs typeface="Alliance No.2 Medium"/>
              </a:rPr>
              <a:t> </a:t>
            </a:r>
            <a:r>
              <a:rPr sz="1800" b="0" dirty="0">
                <a:solidFill>
                  <a:schemeClr val="accent2"/>
                </a:solidFill>
                <a:latin typeface="Alliance No.2 Medium"/>
                <a:cs typeface="Alliance No.2 Medium"/>
              </a:rPr>
              <a:t>ipsum</a:t>
            </a:r>
            <a:r>
              <a:rPr sz="1800" b="0" spc="-10" dirty="0">
                <a:solidFill>
                  <a:schemeClr val="accent2"/>
                </a:solidFill>
                <a:latin typeface="Alliance No.2 Medium"/>
                <a:cs typeface="Alliance No.2 Medium"/>
              </a:rPr>
              <a:t> </a:t>
            </a:r>
            <a:r>
              <a:rPr sz="1800" b="0" dirty="0">
                <a:solidFill>
                  <a:schemeClr val="accent2"/>
                </a:solidFill>
                <a:latin typeface="Alliance No.2 Medium"/>
                <a:cs typeface="Alliance No.2 Medium"/>
              </a:rPr>
              <a:t>dolor</a:t>
            </a:r>
            <a:r>
              <a:rPr sz="1800" b="0" spc="-10" dirty="0">
                <a:solidFill>
                  <a:schemeClr val="accent2"/>
                </a:solidFill>
                <a:latin typeface="Alliance No.2 Medium"/>
                <a:cs typeface="Alliance No.2 Medium"/>
              </a:rPr>
              <a:t> </a:t>
            </a:r>
            <a:r>
              <a:rPr sz="1800" b="0" dirty="0">
                <a:solidFill>
                  <a:schemeClr val="accent2"/>
                </a:solidFill>
                <a:latin typeface="Alliance No.2 Medium"/>
                <a:cs typeface="Alliance No.2 Medium"/>
              </a:rPr>
              <a:t>sit</a:t>
            </a:r>
            <a:r>
              <a:rPr sz="1800" b="0" spc="-10" dirty="0">
                <a:solidFill>
                  <a:schemeClr val="accent2"/>
                </a:solidFill>
                <a:latin typeface="Alliance No.2 Medium"/>
                <a:cs typeface="Alliance No.2 Medium"/>
              </a:rPr>
              <a:t> </a:t>
            </a:r>
            <a:r>
              <a:rPr sz="1800" b="0" dirty="0" err="1">
                <a:solidFill>
                  <a:schemeClr val="accent2"/>
                </a:solidFill>
                <a:latin typeface="Alliance No.2 Medium"/>
                <a:cs typeface="Alliance No.2 Medium"/>
              </a:rPr>
              <a:t>amet</a:t>
            </a:r>
            <a:r>
              <a:rPr sz="1800" b="0" dirty="0">
                <a:solidFill>
                  <a:schemeClr val="accent2"/>
                </a:solidFill>
                <a:latin typeface="Alliance No.2 Medium"/>
                <a:cs typeface="Alliance No.2 Medium"/>
              </a:rPr>
              <a:t>,</a:t>
            </a:r>
            <a:r>
              <a:rPr sz="1800" b="0" spc="-5" dirty="0">
                <a:solidFill>
                  <a:schemeClr val="accent2"/>
                </a:solidFill>
                <a:latin typeface="Alliance No.2 Medium"/>
                <a:cs typeface="Alliance No.2 Medium"/>
              </a:rPr>
              <a:t> </a:t>
            </a:r>
            <a:r>
              <a:rPr sz="1800" b="0" spc="-20" dirty="0">
                <a:solidFill>
                  <a:schemeClr val="accent2"/>
                </a:solidFill>
                <a:latin typeface="Alliance No.2 Medium"/>
                <a:cs typeface="Alliance No.2 Medium"/>
              </a:rPr>
              <a:t>con- </a:t>
            </a:r>
            <a:r>
              <a:rPr sz="1800" b="0" dirty="0" err="1">
                <a:solidFill>
                  <a:schemeClr val="accent2"/>
                </a:solidFill>
                <a:latin typeface="Alliance No.2 Medium"/>
                <a:cs typeface="Alliance No.2 Medium"/>
              </a:rPr>
              <a:t>sectetuer</a:t>
            </a:r>
            <a:r>
              <a:rPr sz="1800" b="0" spc="10" dirty="0">
                <a:solidFill>
                  <a:schemeClr val="accent2"/>
                </a:solidFill>
                <a:latin typeface="Alliance No.2 Medium"/>
                <a:cs typeface="Alliance No.2 Medium"/>
              </a:rPr>
              <a:t> </a:t>
            </a:r>
            <a:r>
              <a:rPr sz="1800" b="0" dirty="0" err="1">
                <a:solidFill>
                  <a:schemeClr val="accent2"/>
                </a:solidFill>
                <a:latin typeface="Alliance No.2 Medium"/>
                <a:cs typeface="Alliance No.2 Medium"/>
              </a:rPr>
              <a:t>adipiscing</a:t>
            </a:r>
            <a:r>
              <a:rPr sz="1800" b="0" spc="15" dirty="0">
                <a:solidFill>
                  <a:schemeClr val="accent2"/>
                </a:solidFill>
                <a:latin typeface="Alliance No.2 Medium"/>
                <a:cs typeface="Alliance No.2 Medium"/>
              </a:rPr>
              <a:t> </a:t>
            </a:r>
            <a:r>
              <a:rPr sz="1800" b="0" dirty="0" err="1">
                <a:solidFill>
                  <a:schemeClr val="accent2"/>
                </a:solidFill>
                <a:latin typeface="Alliance No.2 Medium"/>
                <a:cs typeface="Alliance No.2 Medium"/>
              </a:rPr>
              <a:t>elit</a:t>
            </a:r>
            <a:r>
              <a:rPr sz="1800" b="0" dirty="0">
                <a:solidFill>
                  <a:schemeClr val="accent2"/>
                </a:solidFill>
                <a:latin typeface="Alliance No.2 Medium"/>
                <a:cs typeface="Alliance No.2 Medium"/>
              </a:rPr>
              <a:t>,</a:t>
            </a:r>
            <a:r>
              <a:rPr sz="1800" b="0" spc="15" dirty="0">
                <a:solidFill>
                  <a:schemeClr val="accent2"/>
                </a:solidFill>
                <a:latin typeface="Alliance No.2 Medium"/>
                <a:cs typeface="Alliance No.2 Medium"/>
              </a:rPr>
              <a:t> </a:t>
            </a:r>
            <a:r>
              <a:rPr sz="1800" b="0" dirty="0">
                <a:solidFill>
                  <a:schemeClr val="accent2"/>
                </a:solidFill>
                <a:latin typeface="Alliance No.2 Medium"/>
                <a:cs typeface="Alliance No.2 Medium"/>
              </a:rPr>
              <a:t>sed</a:t>
            </a:r>
            <a:r>
              <a:rPr sz="1800" b="0" spc="15" dirty="0">
                <a:solidFill>
                  <a:schemeClr val="accent2"/>
                </a:solidFill>
                <a:latin typeface="Alliance No.2 Medium"/>
                <a:cs typeface="Alliance No.2 Medium"/>
              </a:rPr>
              <a:t> </a:t>
            </a:r>
            <a:r>
              <a:rPr sz="1800" b="0" spc="-20" dirty="0">
                <a:solidFill>
                  <a:schemeClr val="accent2"/>
                </a:solidFill>
                <a:latin typeface="Alliance No.2 Medium"/>
                <a:cs typeface="Alliance No.2 Medium"/>
              </a:rPr>
              <a:t>diam</a:t>
            </a:r>
            <a:endParaRPr sz="1800" dirty="0">
              <a:solidFill>
                <a:schemeClr val="accent2"/>
              </a:solidFill>
              <a:latin typeface="Alliance No.2 Medium"/>
              <a:cs typeface="Alliance No.2 Medium"/>
            </a:endParaRPr>
          </a:p>
          <a:p>
            <a:pPr marL="12700" marR="5080">
              <a:lnSpc>
                <a:spcPct val="100000"/>
              </a:lnSpc>
              <a:spcBef>
                <a:spcPts val="2000"/>
              </a:spcBef>
            </a:pPr>
            <a:r>
              <a:rPr sz="1000" dirty="0">
                <a:solidFill>
                  <a:schemeClr val="tx2"/>
                </a:solidFill>
                <a:latin typeface="Alliance No.2"/>
                <a:cs typeface="Alliance No.2"/>
              </a:rPr>
              <a:t>Lorem</a:t>
            </a:r>
            <a:r>
              <a:rPr sz="1000" spc="-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>
                <a:solidFill>
                  <a:schemeClr val="tx2"/>
                </a:solidFill>
                <a:latin typeface="Alliance No.2"/>
                <a:cs typeface="Alliance No.2"/>
              </a:rPr>
              <a:t>ipsum dolor</a:t>
            </a:r>
            <a:r>
              <a:rPr sz="1000" spc="-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>
                <a:solidFill>
                  <a:schemeClr val="tx2"/>
                </a:solidFill>
                <a:latin typeface="Alliance No.2"/>
                <a:cs typeface="Alliance No.2"/>
              </a:rPr>
              <a:t>sit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amet</a:t>
            </a:r>
            <a:r>
              <a:rPr sz="1000" dirty="0">
                <a:solidFill>
                  <a:schemeClr val="tx2"/>
                </a:solidFill>
                <a:latin typeface="Alliance No.2"/>
                <a:cs typeface="Alliance No.2"/>
              </a:rPr>
              <a:t>,</a:t>
            </a:r>
            <a:r>
              <a:rPr sz="1000" spc="-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consectetuer</a:t>
            </a:r>
            <a:r>
              <a:rPr sz="1000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adipiscing</a:t>
            </a:r>
            <a:r>
              <a:rPr sz="1000" spc="-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elit</a:t>
            </a:r>
            <a:r>
              <a:rPr sz="1000" dirty="0">
                <a:solidFill>
                  <a:schemeClr val="tx2"/>
                </a:solidFill>
                <a:latin typeface="Alliance No.2"/>
                <a:cs typeface="Alliance No.2"/>
              </a:rPr>
              <a:t>, </a:t>
            </a:r>
            <a:r>
              <a:rPr sz="1000" spc="-25" dirty="0">
                <a:solidFill>
                  <a:schemeClr val="tx2"/>
                </a:solidFill>
                <a:latin typeface="Alliance No.2"/>
                <a:cs typeface="Alliance No.2"/>
              </a:rPr>
              <a:t>sed </a:t>
            </a:r>
            <a:r>
              <a:rPr sz="1000" dirty="0">
                <a:solidFill>
                  <a:schemeClr val="tx2"/>
                </a:solidFill>
                <a:latin typeface="Alliance No.2"/>
                <a:cs typeface="Alliance No.2"/>
              </a:rPr>
              <a:t>diam</a:t>
            </a:r>
            <a:r>
              <a:rPr sz="1000" spc="-20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nonummy</a:t>
            </a:r>
            <a:r>
              <a:rPr sz="1000" spc="-1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nibh</a:t>
            </a:r>
            <a:r>
              <a:rPr sz="1000" spc="-1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euismod</a:t>
            </a:r>
            <a:r>
              <a:rPr sz="1000" spc="-1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tincidunt</a:t>
            </a:r>
            <a:r>
              <a:rPr sz="1000" spc="-1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ut</a:t>
            </a:r>
            <a:r>
              <a:rPr sz="1000" spc="-1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laoreet</a:t>
            </a:r>
            <a:r>
              <a:rPr sz="1000" spc="-1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>
                <a:solidFill>
                  <a:schemeClr val="tx2"/>
                </a:solidFill>
                <a:latin typeface="Alliance No.2"/>
                <a:cs typeface="Alliance No.2"/>
              </a:rPr>
              <a:t>dolore</a:t>
            </a:r>
            <a:r>
              <a:rPr sz="1000" spc="-1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spc="-10" dirty="0">
                <a:solidFill>
                  <a:schemeClr val="tx2"/>
                </a:solidFill>
                <a:latin typeface="Alliance No.2"/>
                <a:cs typeface="Alliance No.2"/>
              </a:rPr>
              <a:t>magna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aliquam</a:t>
            </a:r>
            <a:r>
              <a:rPr sz="1000" spc="-10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erat</a:t>
            </a:r>
            <a:r>
              <a:rPr sz="1000" spc="-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volutpat</a:t>
            </a:r>
            <a:r>
              <a:rPr sz="1000" dirty="0">
                <a:solidFill>
                  <a:schemeClr val="tx2"/>
                </a:solidFill>
                <a:latin typeface="Alliance No.2"/>
                <a:cs typeface="Alliance No.2"/>
              </a:rPr>
              <a:t>.</a:t>
            </a:r>
            <a:r>
              <a:rPr sz="1000" spc="-10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>
                <a:solidFill>
                  <a:schemeClr val="tx2"/>
                </a:solidFill>
                <a:latin typeface="Alliance No.2"/>
                <a:cs typeface="Alliance No.2"/>
              </a:rPr>
              <a:t>Ut</a:t>
            </a:r>
            <a:r>
              <a:rPr sz="1000" spc="-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wisi</a:t>
            </a:r>
            <a:r>
              <a:rPr sz="1000" spc="-10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enim</a:t>
            </a:r>
            <a:r>
              <a:rPr sz="1000" spc="-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>
                <a:solidFill>
                  <a:schemeClr val="tx2"/>
                </a:solidFill>
                <a:latin typeface="Alliance No.2"/>
                <a:cs typeface="Alliance No.2"/>
              </a:rPr>
              <a:t>ad</a:t>
            </a:r>
            <a:r>
              <a:rPr sz="1000" spc="-10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>
                <a:solidFill>
                  <a:schemeClr val="tx2"/>
                </a:solidFill>
                <a:latin typeface="Alliance No.2"/>
                <a:cs typeface="Alliance No.2"/>
              </a:rPr>
              <a:t>minim</a:t>
            </a:r>
            <a:r>
              <a:rPr sz="1000" spc="-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veniam</a:t>
            </a:r>
            <a:r>
              <a:rPr sz="1000" dirty="0">
                <a:solidFill>
                  <a:schemeClr val="tx2"/>
                </a:solidFill>
                <a:latin typeface="Alliance No.2"/>
                <a:cs typeface="Alliance No.2"/>
              </a:rPr>
              <a:t>,</a:t>
            </a:r>
            <a:r>
              <a:rPr sz="1000" spc="-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spc="-20" dirty="0" err="1">
                <a:solidFill>
                  <a:schemeClr val="tx2"/>
                </a:solidFill>
                <a:latin typeface="Alliance No.2"/>
                <a:cs typeface="Alliance No.2"/>
              </a:rPr>
              <a:t>quis</a:t>
            </a:r>
            <a:r>
              <a:rPr sz="1000" spc="-20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nostrud</a:t>
            </a:r>
            <a:r>
              <a:rPr sz="1000" spc="-10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exerci</a:t>
            </a:r>
            <a:r>
              <a:rPr sz="1000" spc="-10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tation</a:t>
            </a:r>
            <a:r>
              <a:rPr sz="1000" spc="-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ullamcorper</a:t>
            </a:r>
            <a:r>
              <a:rPr sz="1000" spc="-10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suscipit</a:t>
            </a:r>
            <a:r>
              <a:rPr sz="1000" spc="-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lobortis</a:t>
            </a:r>
            <a:r>
              <a:rPr sz="1000" spc="-10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nisl</a:t>
            </a:r>
            <a:r>
              <a:rPr sz="1000" spc="-10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ut</a:t>
            </a:r>
            <a:r>
              <a:rPr sz="1000" spc="-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spc="-10" dirty="0" err="1">
                <a:solidFill>
                  <a:schemeClr val="tx2"/>
                </a:solidFill>
                <a:latin typeface="Alliance No.2"/>
                <a:cs typeface="Alliance No.2"/>
              </a:rPr>
              <a:t>aliquip</a:t>
            </a:r>
            <a:r>
              <a:rPr sz="1000" spc="-10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>
                <a:solidFill>
                  <a:schemeClr val="tx2"/>
                </a:solidFill>
                <a:latin typeface="Alliance No.2"/>
                <a:cs typeface="Alliance No.2"/>
              </a:rPr>
              <a:t>ex</a:t>
            </a:r>
            <a:r>
              <a:rPr sz="1000" spc="-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ea</a:t>
            </a:r>
            <a:r>
              <a:rPr sz="1000" spc="-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commodo</a:t>
            </a:r>
            <a:r>
              <a:rPr sz="1000" spc="-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consequat</a:t>
            </a:r>
            <a:r>
              <a:rPr sz="1000" dirty="0">
                <a:solidFill>
                  <a:schemeClr val="tx2"/>
                </a:solidFill>
                <a:latin typeface="Alliance No.2"/>
                <a:cs typeface="Alliance No.2"/>
              </a:rPr>
              <a:t>.</a:t>
            </a:r>
            <a:r>
              <a:rPr sz="1000" spc="-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>
                <a:solidFill>
                  <a:schemeClr val="tx2"/>
                </a:solidFill>
                <a:latin typeface="Alliance No.2"/>
                <a:cs typeface="Alliance No.2"/>
              </a:rPr>
              <a:t>Duis</a:t>
            </a:r>
            <a:r>
              <a:rPr sz="1000" spc="-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>
                <a:solidFill>
                  <a:schemeClr val="tx2"/>
                </a:solidFill>
                <a:latin typeface="Alliance No.2"/>
                <a:cs typeface="Alliance No.2"/>
              </a:rPr>
              <a:t>autem</a:t>
            </a:r>
            <a:r>
              <a:rPr sz="1000" spc="-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>
                <a:solidFill>
                  <a:schemeClr val="tx2"/>
                </a:solidFill>
                <a:latin typeface="Alliance No.2"/>
                <a:cs typeface="Alliance No.2"/>
              </a:rPr>
              <a:t>vel</a:t>
            </a:r>
            <a:r>
              <a:rPr sz="1000" spc="-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eum</a:t>
            </a:r>
            <a:r>
              <a:rPr sz="1000" spc="-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iriure</a:t>
            </a:r>
            <a:r>
              <a:rPr sz="1000" spc="-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>
                <a:solidFill>
                  <a:schemeClr val="tx2"/>
                </a:solidFill>
                <a:latin typeface="Alliance No.2"/>
                <a:cs typeface="Alliance No.2"/>
              </a:rPr>
              <a:t>dolor</a:t>
            </a:r>
            <a:r>
              <a:rPr sz="1000" spc="-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spc="-25" dirty="0">
                <a:solidFill>
                  <a:schemeClr val="tx2"/>
                </a:solidFill>
                <a:latin typeface="Alliance No.2"/>
                <a:cs typeface="Alliance No.2"/>
              </a:rPr>
              <a:t>in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hendrerit</a:t>
            </a:r>
            <a:r>
              <a:rPr sz="1000" spc="-10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>
                <a:solidFill>
                  <a:schemeClr val="tx2"/>
                </a:solidFill>
                <a:latin typeface="Alliance No.2"/>
                <a:cs typeface="Alliance No.2"/>
              </a:rPr>
              <a:t>in</a:t>
            </a:r>
            <a:r>
              <a:rPr sz="1000" spc="-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vulputate</a:t>
            </a:r>
            <a:r>
              <a:rPr sz="1000" spc="-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velit</a:t>
            </a:r>
            <a:r>
              <a:rPr sz="1000" spc="-10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esse</a:t>
            </a:r>
            <a:r>
              <a:rPr sz="1000" spc="-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molestie</a:t>
            </a:r>
            <a:r>
              <a:rPr sz="1000" spc="-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consequat</a:t>
            </a:r>
            <a:r>
              <a:rPr sz="1000" dirty="0">
                <a:solidFill>
                  <a:schemeClr val="tx2"/>
                </a:solidFill>
                <a:latin typeface="Alliance No.2"/>
                <a:cs typeface="Alliance No.2"/>
              </a:rPr>
              <a:t>,</a:t>
            </a:r>
            <a:r>
              <a:rPr sz="1000" spc="-10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>
                <a:solidFill>
                  <a:schemeClr val="tx2"/>
                </a:solidFill>
                <a:latin typeface="Alliance No.2"/>
                <a:cs typeface="Alliance No.2"/>
              </a:rPr>
              <a:t>vel</a:t>
            </a:r>
            <a:r>
              <a:rPr sz="1000" spc="-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spc="-10" dirty="0">
                <a:solidFill>
                  <a:schemeClr val="tx2"/>
                </a:solidFill>
                <a:latin typeface="Alliance No.2"/>
                <a:cs typeface="Alliance No.2"/>
              </a:rPr>
              <a:t>illum </a:t>
            </a:r>
            <a:r>
              <a:rPr sz="1000" dirty="0">
                <a:solidFill>
                  <a:schemeClr val="tx2"/>
                </a:solidFill>
                <a:latin typeface="Alliance No.2"/>
                <a:cs typeface="Alliance No.2"/>
              </a:rPr>
              <a:t>dolore</a:t>
            </a:r>
            <a:r>
              <a:rPr sz="1000" spc="-30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eu</a:t>
            </a:r>
            <a:r>
              <a:rPr sz="1000" spc="-1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feugiat</a:t>
            </a:r>
            <a:r>
              <a:rPr sz="1000" spc="-1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nulla</a:t>
            </a:r>
            <a:r>
              <a:rPr sz="1000" spc="-1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facilisis</a:t>
            </a:r>
            <a:r>
              <a:rPr sz="1000" spc="-1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>
                <a:solidFill>
                  <a:schemeClr val="tx2"/>
                </a:solidFill>
                <a:latin typeface="Alliance No.2"/>
                <a:cs typeface="Alliance No.2"/>
              </a:rPr>
              <a:t>at</a:t>
            </a:r>
            <a:r>
              <a:rPr sz="1000" spc="-1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vero</a:t>
            </a:r>
            <a:r>
              <a:rPr sz="1000" spc="-1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>
                <a:solidFill>
                  <a:schemeClr val="tx2"/>
                </a:solidFill>
                <a:latin typeface="Alliance No.2"/>
                <a:cs typeface="Alliance No.2"/>
              </a:rPr>
              <a:t>eros</a:t>
            </a:r>
            <a:r>
              <a:rPr sz="1000" spc="-1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>
                <a:solidFill>
                  <a:schemeClr val="tx2"/>
                </a:solidFill>
                <a:latin typeface="Alliance No.2"/>
                <a:cs typeface="Alliance No.2"/>
              </a:rPr>
              <a:t>et</a:t>
            </a:r>
            <a:r>
              <a:rPr sz="1000" spc="-1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accumsan</a:t>
            </a:r>
            <a:r>
              <a:rPr sz="1000" spc="-1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>
                <a:solidFill>
                  <a:schemeClr val="tx2"/>
                </a:solidFill>
                <a:latin typeface="Alliance No.2"/>
                <a:cs typeface="Alliance No.2"/>
              </a:rPr>
              <a:t>et</a:t>
            </a:r>
            <a:r>
              <a:rPr sz="1000" spc="-1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spc="-20" dirty="0" err="1">
                <a:solidFill>
                  <a:schemeClr val="tx2"/>
                </a:solidFill>
                <a:latin typeface="Alliance No.2"/>
                <a:cs typeface="Alliance No.2"/>
              </a:rPr>
              <a:t>iusto</a:t>
            </a:r>
            <a:r>
              <a:rPr sz="1000" spc="-20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odio</a:t>
            </a:r>
            <a:r>
              <a:rPr sz="1000" spc="-20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dignissim</a:t>
            </a:r>
            <a:r>
              <a:rPr sz="1000" spc="-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>
                <a:solidFill>
                  <a:schemeClr val="tx2"/>
                </a:solidFill>
                <a:latin typeface="Alliance No.2"/>
                <a:cs typeface="Alliance No.2"/>
              </a:rPr>
              <a:t>qui</a:t>
            </a:r>
            <a:r>
              <a:rPr sz="1000" spc="-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blandit</a:t>
            </a:r>
            <a:r>
              <a:rPr sz="1000" spc="-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praesent</a:t>
            </a:r>
            <a:r>
              <a:rPr sz="1000" spc="-10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luptatum</a:t>
            </a:r>
            <a:r>
              <a:rPr sz="1000" spc="-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zzril</a:t>
            </a:r>
            <a:r>
              <a:rPr sz="1000" spc="-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delenit</a:t>
            </a:r>
            <a:r>
              <a:rPr sz="1000" spc="-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spc="-20" dirty="0" err="1">
                <a:solidFill>
                  <a:schemeClr val="tx2"/>
                </a:solidFill>
                <a:latin typeface="Alliance No.2"/>
                <a:cs typeface="Alliance No.2"/>
              </a:rPr>
              <a:t>augue</a:t>
            </a:r>
            <a:r>
              <a:rPr sz="1000" spc="-20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duis</a:t>
            </a:r>
            <a:r>
              <a:rPr sz="1000" spc="-1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>
                <a:solidFill>
                  <a:schemeClr val="tx2"/>
                </a:solidFill>
                <a:latin typeface="Alliance No.2"/>
                <a:cs typeface="Alliance No.2"/>
              </a:rPr>
              <a:t>dolore</a:t>
            </a:r>
            <a:r>
              <a:rPr sz="1000" spc="-1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>
                <a:solidFill>
                  <a:schemeClr val="tx2"/>
                </a:solidFill>
                <a:latin typeface="Alliance No.2"/>
                <a:cs typeface="Alliance No.2"/>
              </a:rPr>
              <a:t>te</a:t>
            </a:r>
            <a:r>
              <a:rPr sz="1000" spc="-1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feugait</a:t>
            </a:r>
            <a:r>
              <a:rPr sz="1000" spc="-1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nulla</a:t>
            </a:r>
            <a:r>
              <a:rPr sz="1000" spc="-1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spc="-10" dirty="0" err="1">
                <a:solidFill>
                  <a:schemeClr val="tx2"/>
                </a:solidFill>
                <a:latin typeface="Alliance No.2"/>
                <a:cs typeface="Alliance No.2"/>
              </a:rPr>
              <a:t>facilisi</a:t>
            </a:r>
            <a:r>
              <a:rPr sz="1000" spc="-10" dirty="0">
                <a:solidFill>
                  <a:schemeClr val="tx2"/>
                </a:solidFill>
                <a:latin typeface="Alliance No.2"/>
                <a:cs typeface="Alliance No.2"/>
              </a:rPr>
              <a:t>.</a:t>
            </a:r>
            <a:endParaRPr sz="1000" dirty="0">
              <a:solidFill>
                <a:schemeClr val="tx2"/>
              </a:solidFill>
              <a:latin typeface="Alliance No.2"/>
              <a:cs typeface="Alliance No.2"/>
            </a:endParaRPr>
          </a:p>
          <a:p>
            <a:pPr>
              <a:lnSpc>
                <a:spcPct val="100000"/>
              </a:lnSpc>
              <a:spcBef>
                <a:spcPts val="25"/>
              </a:spcBef>
            </a:pPr>
            <a:endParaRPr sz="850" dirty="0">
              <a:solidFill>
                <a:schemeClr val="tx2"/>
              </a:solidFill>
              <a:latin typeface="Alliance No.2"/>
              <a:cs typeface="Alliance No.2"/>
            </a:endParaRPr>
          </a:p>
          <a:p>
            <a:pPr marL="12700" marR="52069">
              <a:lnSpc>
                <a:spcPct val="100000"/>
              </a:lnSpc>
              <a:spcBef>
                <a:spcPts val="5"/>
              </a:spcBef>
            </a:pPr>
            <a:r>
              <a:rPr sz="1000" dirty="0">
                <a:solidFill>
                  <a:schemeClr val="tx2"/>
                </a:solidFill>
                <a:latin typeface="Alliance No.2"/>
                <a:cs typeface="Alliance No.2"/>
              </a:rPr>
              <a:t>Duis</a:t>
            </a:r>
            <a:r>
              <a:rPr sz="1000" spc="-20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>
                <a:solidFill>
                  <a:schemeClr val="tx2"/>
                </a:solidFill>
                <a:latin typeface="Alliance No.2"/>
                <a:cs typeface="Alliance No.2"/>
              </a:rPr>
              <a:t>autem</a:t>
            </a:r>
            <a:r>
              <a:rPr sz="1000" spc="-10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>
                <a:solidFill>
                  <a:schemeClr val="tx2"/>
                </a:solidFill>
                <a:latin typeface="Alliance No.2"/>
                <a:cs typeface="Alliance No.2"/>
              </a:rPr>
              <a:t>vel</a:t>
            </a:r>
            <a:r>
              <a:rPr sz="1000" spc="-10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eum</a:t>
            </a:r>
            <a:r>
              <a:rPr sz="1000" spc="-10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iriure</a:t>
            </a:r>
            <a:r>
              <a:rPr sz="1000" spc="-10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>
                <a:solidFill>
                  <a:schemeClr val="tx2"/>
                </a:solidFill>
                <a:latin typeface="Alliance No.2"/>
                <a:cs typeface="Alliance No.2"/>
              </a:rPr>
              <a:t>dolor</a:t>
            </a:r>
            <a:r>
              <a:rPr sz="1000" spc="-10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>
                <a:solidFill>
                  <a:schemeClr val="tx2"/>
                </a:solidFill>
                <a:latin typeface="Alliance No.2"/>
                <a:cs typeface="Alliance No.2"/>
              </a:rPr>
              <a:t>in</a:t>
            </a:r>
            <a:r>
              <a:rPr sz="1000" spc="-10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hendrerit</a:t>
            </a:r>
            <a:r>
              <a:rPr sz="1000" spc="-10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>
                <a:solidFill>
                  <a:schemeClr val="tx2"/>
                </a:solidFill>
                <a:latin typeface="Alliance No.2"/>
                <a:cs typeface="Alliance No.2"/>
              </a:rPr>
              <a:t>in</a:t>
            </a:r>
            <a:r>
              <a:rPr sz="1000" spc="-10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vulputate</a:t>
            </a:r>
            <a:r>
              <a:rPr sz="1000" spc="-10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spc="-10" dirty="0" err="1">
                <a:solidFill>
                  <a:schemeClr val="tx2"/>
                </a:solidFill>
                <a:latin typeface="Alliance No.2"/>
                <a:cs typeface="Alliance No.2"/>
              </a:rPr>
              <a:t>velit</a:t>
            </a:r>
            <a:r>
              <a:rPr sz="1000" spc="-10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esse</a:t>
            </a:r>
            <a:r>
              <a:rPr sz="1000" spc="-10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molestie</a:t>
            </a:r>
            <a:r>
              <a:rPr sz="1000" spc="-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consequat</a:t>
            </a:r>
            <a:r>
              <a:rPr sz="1000" dirty="0">
                <a:solidFill>
                  <a:schemeClr val="tx2"/>
                </a:solidFill>
                <a:latin typeface="Alliance No.2"/>
                <a:cs typeface="Alliance No.2"/>
              </a:rPr>
              <a:t>,</a:t>
            </a:r>
            <a:r>
              <a:rPr sz="1000" spc="-10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>
                <a:solidFill>
                  <a:schemeClr val="tx2"/>
                </a:solidFill>
                <a:latin typeface="Alliance No.2"/>
                <a:cs typeface="Alliance No.2"/>
              </a:rPr>
              <a:t>vel</a:t>
            </a:r>
            <a:r>
              <a:rPr sz="1000" spc="-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>
                <a:solidFill>
                  <a:schemeClr val="tx2"/>
                </a:solidFill>
                <a:latin typeface="Alliance No.2"/>
                <a:cs typeface="Alliance No.2"/>
              </a:rPr>
              <a:t>illum</a:t>
            </a:r>
            <a:r>
              <a:rPr sz="1000" spc="-10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>
                <a:solidFill>
                  <a:schemeClr val="tx2"/>
                </a:solidFill>
                <a:latin typeface="Alliance No.2"/>
                <a:cs typeface="Alliance No.2"/>
              </a:rPr>
              <a:t>dolore</a:t>
            </a:r>
            <a:r>
              <a:rPr sz="1000" spc="-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eu</a:t>
            </a:r>
            <a:r>
              <a:rPr sz="1000" spc="-10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feugiat</a:t>
            </a:r>
            <a:r>
              <a:rPr sz="1000" spc="-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nulla</a:t>
            </a:r>
            <a:r>
              <a:rPr sz="1000" spc="-10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spc="-10" dirty="0" err="1">
                <a:solidFill>
                  <a:schemeClr val="tx2"/>
                </a:solidFill>
                <a:latin typeface="Alliance No.2"/>
                <a:cs typeface="Alliance No.2"/>
              </a:rPr>
              <a:t>facili</a:t>
            </a:r>
            <a:r>
              <a:rPr sz="1000" spc="-10" dirty="0">
                <a:solidFill>
                  <a:schemeClr val="tx2"/>
                </a:solidFill>
                <a:latin typeface="Alliance No.2"/>
                <a:cs typeface="Alliance No.2"/>
              </a:rPr>
              <a:t>- </a:t>
            </a:r>
            <a:r>
              <a:rPr sz="1000" dirty="0">
                <a:solidFill>
                  <a:schemeClr val="tx2"/>
                </a:solidFill>
                <a:latin typeface="Alliance No.2"/>
                <a:cs typeface="Alliance No.2"/>
              </a:rPr>
              <a:t>sis</a:t>
            </a:r>
            <a:r>
              <a:rPr sz="1000" spc="-10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>
                <a:solidFill>
                  <a:schemeClr val="tx2"/>
                </a:solidFill>
                <a:latin typeface="Alliance No.2"/>
                <a:cs typeface="Alliance No.2"/>
              </a:rPr>
              <a:t>at</a:t>
            </a:r>
            <a:r>
              <a:rPr sz="1000" spc="-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vero</a:t>
            </a:r>
            <a:r>
              <a:rPr sz="1000" spc="-10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>
                <a:solidFill>
                  <a:schemeClr val="tx2"/>
                </a:solidFill>
                <a:latin typeface="Alliance No.2"/>
                <a:cs typeface="Alliance No.2"/>
              </a:rPr>
              <a:t>eros</a:t>
            </a:r>
            <a:r>
              <a:rPr sz="1000" spc="-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>
                <a:solidFill>
                  <a:schemeClr val="tx2"/>
                </a:solidFill>
                <a:latin typeface="Alliance No.2"/>
                <a:cs typeface="Alliance No.2"/>
              </a:rPr>
              <a:t>et</a:t>
            </a:r>
            <a:r>
              <a:rPr sz="1000" spc="-10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accumsan</a:t>
            </a:r>
            <a:r>
              <a:rPr sz="1000" spc="-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>
                <a:solidFill>
                  <a:schemeClr val="tx2"/>
                </a:solidFill>
                <a:latin typeface="Alliance No.2"/>
                <a:cs typeface="Alliance No.2"/>
              </a:rPr>
              <a:t>et</a:t>
            </a:r>
            <a:r>
              <a:rPr sz="1000" spc="-10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iusto</a:t>
            </a:r>
            <a:r>
              <a:rPr sz="1000" spc="-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odio</a:t>
            </a:r>
            <a:r>
              <a:rPr sz="1000" spc="-10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dignissim</a:t>
            </a:r>
            <a:r>
              <a:rPr sz="1000" spc="-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>
                <a:solidFill>
                  <a:schemeClr val="tx2"/>
                </a:solidFill>
                <a:latin typeface="Alliance No.2"/>
                <a:cs typeface="Alliance No.2"/>
              </a:rPr>
              <a:t>qui</a:t>
            </a:r>
            <a:r>
              <a:rPr sz="1000" spc="-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spc="-10" dirty="0" err="1">
                <a:solidFill>
                  <a:schemeClr val="tx2"/>
                </a:solidFill>
                <a:latin typeface="Alliance No.2"/>
                <a:cs typeface="Alliance No.2"/>
              </a:rPr>
              <a:t>blandit</a:t>
            </a:r>
            <a:r>
              <a:rPr sz="1000" spc="-10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praesent</a:t>
            </a:r>
            <a:r>
              <a:rPr sz="1000" spc="-1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luptatum</a:t>
            </a:r>
            <a:r>
              <a:rPr sz="1000" spc="-10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zzril</a:t>
            </a:r>
            <a:r>
              <a:rPr sz="1000" spc="-1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delenit</a:t>
            </a:r>
            <a:r>
              <a:rPr sz="1000" spc="-10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augue</a:t>
            </a:r>
            <a:r>
              <a:rPr sz="1000" spc="-1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 err="1">
                <a:solidFill>
                  <a:schemeClr val="tx2"/>
                </a:solidFill>
                <a:latin typeface="Alliance No.2"/>
                <a:cs typeface="Alliance No.2"/>
              </a:rPr>
              <a:t>duis</a:t>
            </a:r>
            <a:r>
              <a:rPr sz="1000" spc="-10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>
                <a:solidFill>
                  <a:schemeClr val="tx2"/>
                </a:solidFill>
                <a:latin typeface="Alliance No.2"/>
                <a:cs typeface="Alliance No.2"/>
              </a:rPr>
              <a:t>dolore</a:t>
            </a:r>
            <a:r>
              <a:rPr sz="1000" spc="-1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dirty="0">
                <a:solidFill>
                  <a:schemeClr val="tx2"/>
                </a:solidFill>
                <a:latin typeface="Alliance No.2"/>
                <a:cs typeface="Alliance No.2"/>
              </a:rPr>
              <a:t>te</a:t>
            </a:r>
            <a:r>
              <a:rPr sz="1000" spc="-10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000" spc="-10" dirty="0" err="1">
                <a:solidFill>
                  <a:schemeClr val="tx2"/>
                </a:solidFill>
                <a:latin typeface="Alliance No.2"/>
                <a:cs typeface="Alliance No.2"/>
              </a:rPr>
              <a:t>feugait</a:t>
            </a:r>
            <a:r>
              <a:rPr sz="1000" spc="-10" dirty="0">
                <a:solidFill>
                  <a:schemeClr val="tx2"/>
                </a:solidFill>
                <a:latin typeface="Alliance No.2"/>
                <a:cs typeface="Alliance No.2"/>
              </a:rPr>
              <a:t>.</a:t>
            </a:r>
            <a:endParaRPr sz="1000" dirty="0">
              <a:solidFill>
                <a:schemeClr val="tx2"/>
              </a:solidFill>
              <a:latin typeface="Alliance No.2"/>
              <a:cs typeface="Alliance No.2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464134" y="8642610"/>
            <a:ext cx="2072639" cy="939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000" b="1" dirty="0">
                <a:solidFill>
                  <a:schemeClr val="tx2"/>
                </a:solidFill>
                <a:latin typeface="Alliance No.2" pitchFamily="2" charset="77"/>
                <a:cs typeface="Alliance No.2"/>
              </a:rPr>
              <a:t>Lorem</a:t>
            </a:r>
            <a:r>
              <a:rPr sz="1000" b="1" spc="-20" dirty="0">
                <a:solidFill>
                  <a:schemeClr val="tx2"/>
                </a:solidFill>
                <a:latin typeface="Alliance No.2" pitchFamily="2" charset="77"/>
                <a:cs typeface="Alliance No.2"/>
              </a:rPr>
              <a:t> </a:t>
            </a:r>
            <a:r>
              <a:rPr sz="1000" b="1" dirty="0">
                <a:solidFill>
                  <a:schemeClr val="tx2"/>
                </a:solidFill>
                <a:latin typeface="Alliance No.2" pitchFamily="2" charset="77"/>
                <a:cs typeface="Alliance No.2"/>
              </a:rPr>
              <a:t>ipsum</a:t>
            </a:r>
            <a:r>
              <a:rPr sz="1000" b="1" spc="-10" dirty="0">
                <a:solidFill>
                  <a:schemeClr val="tx2"/>
                </a:solidFill>
                <a:latin typeface="Alliance No.2" pitchFamily="2" charset="77"/>
                <a:cs typeface="Alliance No.2"/>
              </a:rPr>
              <a:t> </a:t>
            </a:r>
            <a:r>
              <a:rPr sz="1000" b="1" dirty="0">
                <a:solidFill>
                  <a:schemeClr val="tx2"/>
                </a:solidFill>
                <a:latin typeface="Alliance No.2" pitchFamily="2" charset="77"/>
                <a:cs typeface="Alliance No.2"/>
              </a:rPr>
              <a:t>dolor</a:t>
            </a:r>
            <a:r>
              <a:rPr sz="1000" b="1" spc="-10" dirty="0">
                <a:solidFill>
                  <a:schemeClr val="tx2"/>
                </a:solidFill>
                <a:latin typeface="Alliance No.2" pitchFamily="2" charset="77"/>
                <a:cs typeface="Alliance No.2"/>
              </a:rPr>
              <a:t> </a:t>
            </a:r>
            <a:r>
              <a:rPr sz="1000" b="1" dirty="0">
                <a:solidFill>
                  <a:schemeClr val="tx2"/>
                </a:solidFill>
                <a:latin typeface="Alliance No.2" pitchFamily="2" charset="77"/>
                <a:cs typeface="Alliance No.2"/>
              </a:rPr>
              <a:t>sit</a:t>
            </a:r>
            <a:r>
              <a:rPr sz="1000" b="1" spc="-10" dirty="0">
                <a:solidFill>
                  <a:schemeClr val="tx2"/>
                </a:solidFill>
                <a:latin typeface="Alliance No.2" pitchFamily="2" charset="77"/>
                <a:cs typeface="Alliance No.2"/>
              </a:rPr>
              <a:t> </a:t>
            </a:r>
            <a:r>
              <a:rPr sz="1000" b="1" spc="-10" dirty="0" err="1">
                <a:solidFill>
                  <a:schemeClr val="tx2"/>
                </a:solidFill>
                <a:latin typeface="Alliance No.2" pitchFamily="2" charset="77"/>
                <a:cs typeface="Alliance No.2"/>
              </a:rPr>
              <a:t>amet</a:t>
            </a:r>
            <a:r>
              <a:rPr sz="1000" b="1" spc="-10" dirty="0">
                <a:solidFill>
                  <a:schemeClr val="tx2"/>
                </a:solidFill>
                <a:latin typeface="Alliance No.2" pitchFamily="2" charset="77"/>
                <a:cs typeface="Alliance No.2"/>
              </a:rPr>
              <a:t>, </a:t>
            </a:r>
            <a:r>
              <a:rPr sz="1000" b="1" dirty="0" err="1">
                <a:solidFill>
                  <a:schemeClr val="tx2"/>
                </a:solidFill>
                <a:latin typeface="Alliance No.2" pitchFamily="2" charset="77"/>
                <a:cs typeface="Alliance No.2"/>
              </a:rPr>
              <a:t>consectetuer</a:t>
            </a:r>
            <a:r>
              <a:rPr sz="1000" b="1" spc="5" dirty="0">
                <a:solidFill>
                  <a:schemeClr val="tx2"/>
                </a:solidFill>
                <a:latin typeface="Alliance No.2" pitchFamily="2" charset="77"/>
                <a:cs typeface="Alliance No.2"/>
              </a:rPr>
              <a:t> </a:t>
            </a:r>
            <a:r>
              <a:rPr sz="1000" b="1" dirty="0" err="1">
                <a:solidFill>
                  <a:schemeClr val="tx2"/>
                </a:solidFill>
                <a:latin typeface="Alliance No.2" pitchFamily="2" charset="77"/>
                <a:cs typeface="Alliance No.2"/>
              </a:rPr>
              <a:t>adipiscing</a:t>
            </a:r>
            <a:r>
              <a:rPr sz="1000" b="1" spc="5" dirty="0">
                <a:solidFill>
                  <a:schemeClr val="tx2"/>
                </a:solidFill>
                <a:latin typeface="Alliance No.2" pitchFamily="2" charset="77"/>
                <a:cs typeface="Alliance No.2"/>
              </a:rPr>
              <a:t> </a:t>
            </a:r>
            <a:r>
              <a:rPr sz="1000" b="1" dirty="0" err="1">
                <a:solidFill>
                  <a:schemeClr val="tx2"/>
                </a:solidFill>
                <a:latin typeface="Alliance No.2" pitchFamily="2" charset="77"/>
                <a:cs typeface="Alliance No.2"/>
              </a:rPr>
              <a:t>elit</a:t>
            </a:r>
            <a:r>
              <a:rPr sz="1000" b="1" dirty="0">
                <a:solidFill>
                  <a:schemeClr val="tx2"/>
                </a:solidFill>
                <a:latin typeface="Alliance No.2" pitchFamily="2" charset="77"/>
                <a:cs typeface="Alliance No.2"/>
              </a:rPr>
              <a:t>,</a:t>
            </a:r>
            <a:r>
              <a:rPr sz="1000" b="1" spc="5" dirty="0">
                <a:solidFill>
                  <a:schemeClr val="tx2"/>
                </a:solidFill>
                <a:latin typeface="Alliance No.2" pitchFamily="2" charset="77"/>
                <a:cs typeface="Alliance No.2"/>
              </a:rPr>
              <a:t> </a:t>
            </a:r>
            <a:r>
              <a:rPr sz="1000" b="1" spc="-25" dirty="0">
                <a:solidFill>
                  <a:schemeClr val="tx2"/>
                </a:solidFill>
                <a:latin typeface="Alliance No.2" pitchFamily="2" charset="77"/>
                <a:cs typeface="Alliance No.2"/>
              </a:rPr>
              <a:t>sed </a:t>
            </a:r>
            <a:r>
              <a:rPr sz="1000" b="1" dirty="0">
                <a:solidFill>
                  <a:schemeClr val="tx2"/>
                </a:solidFill>
                <a:latin typeface="Alliance No.2" pitchFamily="2" charset="77"/>
                <a:cs typeface="Alliance No.2"/>
              </a:rPr>
              <a:t>diam</a:t>
            </a:r>
            <a:r>
              <a:rPr sz="1000" b="1" spc="-10" dirty="0">
                <a:solidFill>
                  <a:schemeClr val="tx2"/>
                </a:solidFill>
                <a:latin typeface="Alliance No.2" pitchFamily="2" charset="77"/>
                <a:cs typeface="Alliance No.2"/>
              </a:rPr>
              <a:t> </a:t>
            </a:r>
            <a:r>
              <a:rPr sz="1000" b="1" dirty="0" err="1">
                <a:solidFill>
                  <a:schemeClr val="tx2"/>
                </a:solidFill>
                <a:latin typeface="Alliance No.2" pitchFamily="2" charset="77"/>
                <a:cs typeface="Alliance No.2"/>
              </a:rPr>
              <a:t>nonummy</a:t>
            </a:r>
            <a:r>
              <a:rPr sz="1000" b="1" spc="-10" dirty="0">
                <a:solidFill>
                  <a:schemeClr val="tx2"/>
                </a:solidFill>
                <a:latin typeface="Alliance No.2" pitchFamily="2" charset="77"/>
                <a:cs typeface="Alliance No.2"/>
              </a:rPr>
              <a:t> </a:t>
            </a:r>
            <a:r>
              <a:rPr sz="1000" b="1" dirty="0" err="1">
                <a:solidFill>
                  <a:schemeClr val="tx2"/>
                </a:solidFill>
                <a:latin typeface="Alliance No.2" pitchFamily="2" charset="77"/>
                <a:cs typeface="Alliance No.2"/>
              </a:rPr>
              <a:t>nibh</a:t>
            </a:r>
            <a:r>
              <a:rPr sz="1000" b="1" spc="-10" dirty="0">
                <a:solidFill>
                  <a:schemeClr val="tx2"/>
                </a:solidFill>
                <a:latin typeface="Alliance No.2" pitchFamily="2" charset="77"/>
                <a:cs typeface="Alliance No.2"/>
              </a:rPr>
              <a:t> </a:t>
            </a:r>
            <a:r>
              <a:rPr sz="1000" b="1" spc="-10" dirty="0" err="1">
                <a:solidFill>
                  <a:schemeClr val="tx2"/>
                </a:solidFill>
                <a:latin typeface="Alliance No.2" pitchFamily="2" charset="77"/>
                <a:cs typeface="Alliance No.2"/>
              </a:rPr>
              <a:t>euismod</a:t>
            </a:r>
            <a:r>
              <a:rPr sz="1000" b="1" spc="-10" dirty="0">
                <a:solidFill>
                  <a:schemeClr val="tx2"/>
                </a:solidFill>
                <a:latin typeface="Alliance No.2" pitchFamily="2" charset="77"/>
                <a:cs typeface="Alliance No.2"/>
              </a:rPr>
              <a:t> </a:t>
            </a:r>
            <a:r>
              <a:rPr sz="1000" b="1" dirty="0" err="1">
                <a:solidFill>
                  <a:schemeClr val="tx2"/>
                </a:solidFill>
                <a:latin typeface="Alliance No.2" pitchFamily="2" charset="77"/>
                <a:cs typeface="Alliance No.2"/>
              </a:rPr>
              <a:t>tincidunt</a:t>
            </a:r>
            <a:r>
              <a:rPr sz="1000" b="1" spc="-25" dirty="0">
                <a:solidFill>
                  <a:schemeClr val="tx2"/>
                </a:solidFill>
                <a:latin typeface="Alliance No.2" pitchFamily="2" charset="77"/>
                <a:cs typeface="Alliance No.2"/>
              </a:rPr>
              <a:t> </a:t>
            </a:r>
            <a:r>
              <a:rPr sz="1000" b="1" dirty="0" err="1">
                <a:solidFill>
                  <a:schemeClr val="tx2"/>
                </a:solidFill>
                <a:latin typeface="Alliance No.2" pitchFamily="2" charset="77"/>
                <a:cs typeface="Alliance No.2"/>
              </a:rPr>
              <a:t>ut</a:t>
            </a:r>
            <a:r>
              <a:rPr sz="1000" b="1" spc="-25" dirty="0">
                <a:solidFill>
                  <a:schemeClr val="tx2"/>
                </a:solidFill>
                <a:latin typeface="Alliance No.2" pitchFamily="2" charset="77"/>
                <a:cs typeface="Alliance No.2"/>
              </a:rPr>
              <a:t> </a:t>
            </a:r>
            <a:r>
              <a:rPr sz="1000" b="1" dirty="0" err="1">
                <a:solidFill>
                  <a:schemeClr val="tx2"/>
                </a:solidFill>
                <a:latin typeface="Alliance No.2" pitchFamily="2" charset="77"/>
                <a:cs typeface="Alliance No.2"/>
              </a:rPr>
              <a:t>laoreet</a:t>
            </a:r>
            <a:r>
              <a:rPr sz="1000" b="1" spc="-25" dirty="0">
                <a:solidFill>
                  <a:schemeClr val="tx2"/>
                </a:solidFill>
                <a:latin typeface="Alliance No.2" pitchFamily="2" charset="77"/>
                <a:cs typeface="Alliance No.2"/>
              </a:rPr>
              <a:t> </a:t>
            </a:r>
            <a:r>
              <a:rPr sz="1000" b="1" dirty="0">
                <a:solidFill>
                  <a:schemeClr val="tx2"/>
                </a:solidFill>
                <a:latin typeface="Alliance No.2" pitchFamily="2" charset="77"/>
                <a:cs typeface="Alliance No.2"/>
              </a:rPr>
              <a:t>dolore</a:t>
            </a:r>
            <a:r>
              <a:rPr sz="1000" b="1" spc="-20" dirty="0">
                <a:solidFill>
                  <a:schemeClr val="tx2"/>
                </a:solidFill>
                <a:latin typeface="Alliance No.2" pitchFamily="2" charset="77"/>
                <a:cs typeface="Alliance No.2"/>
              </a:rPr>
              <a:t> magna </a:t>
            </a:r>
            <a:r>
              <a:rPr sz="1000" b="1" dirty="0" err="1">
                <a:solidFill>
                  <a:schemeClr val="tx2"/>
                </a:solidFill>
                <a:latin typeface="Alliance No.2" pitchFamily="2" charset="77"/>
                <a:cs typeface="Alliance No.2"/>
              </a:rPr>
              <a:t>aliquam</a:t>
            </a:r>
            <a:r>
              <a:rPr sz="1000" b="1" spc="-25" dirty="0">
                <a:solidFill>
                  <a:schemeClr val="tx2"/>
                </a:solidFill>
                <a:latin typeface="Alliance No.2" pitchFamily="2" charset="77"/>
                <a:cs typeface="Alliance No.2"/>
              </a:rPr>
              <a:t> </a:t>
            </a:r>
            <a:r>
              <a:rPr sz="1000" b="1" dirty="0" err="1">
                <a:solidFill>
                  <a:schemeClr val="tx2"/>
                </a:solidFill>
                <a:latin typeface="Alliance No.2" pitchFamily="2" charset="77"/>
                <a:cs typeface="Alliance No.2"/>
              </a:rPr>
              <a:t>erat</a:t>
            </a:r>
            <a:r>
              <a:rPr sz="1000" b="1" spc="-10" dirty="0">
                <a:solidFill>
                  <a:schemeClr val="tx2"/>
                </a:solidFill>
                <a:latin typeface="Alliance No.2" pitchFamily="2" charset="77"/>
                <a:cs typeface="Alliance No.2"/>
              </a:rPr>
              <a:t> </a:t>
            </a:r>
            <a:r>
              <a:rPr sz="1000" b="1" dirty="0" err="1">
                <a:solidFill>
                  <a:schemeClr val="tx2"/>
                </a:solidFill>
                <a:latin typeface="Alliance No.2" pitchFamily="2" charset="77"/>
                <a:cs typeface="Alliance No.2"/>
              </a:rPr>
              <a:t>volutpat</a:t>
            </a:r>
            <a:r>
              <a:rPr sz="1000" b="1" dirty="0">
                <a:solidFill>
                  <a:schemeClr val="tx2"/>
                </a:solidFill>
                <a:latin typeface="Alliance No.2" pitchFamily="2" charset="77"/>
                <a:cs typeface="Alliance No.2"/>
              </a:rPr>
              <a:t>.</a:t>
            </a:r>
            <a:r>
              <a:rPr sz="1000" b="1" spc="-15" dirty="0">
                <a:solidFill>
                  <a:schemeClr val="tx2"/>
                </a:solidFill>
                <a:latin typeface="Alliance No.2" pitchFamily="2" charset="77"/>
                <a:cs typeface="Alliance No.2"/>
              </a:rPr>
              <a:t> </a:t>
            </a:r>
            <a:r>
              <a:rPr sz="1000" b="1" dirty="0">
                <a:solidFill>
                  <a:schemeClr val="tx2"/>
                </a:solidFill>
                <a:latin typeface="Alliance No.2" pitchFamily="2" charset="77"/>
                <a:cs typeface="Alliance No.2"/>
              </a:rPr>
              <a:t>Ut</a:t>
            </a:r>
            <a:r>
              <a:rPr sz="1000" b="1" spc="-10" dirty="0">
                <a:solidFill>
                  <a:schemeClr val="tx2"/>
                </a:solidFill>
                <a:latin typeface="Alliance No.2" pitchFamily="2" charset="77"/>
                <a:cs typeface="Alliance No.2"/>
              </a:rPr>
              <a:t> </a:t>
            </a:r>
            <a:r>
              <a:rPr sz="1000" b="1" dirty="0" err="1">
                <a:solidFill>
                  <a:schemeClr val="tx2"/>
                </a:solidFill>
                <a:latin typeface="Alliance No.2" pitchFamily="2" charset="77"/>
                <a:cs typeface="Alliance No.2"/>
              </a:rPr>
              <a:t>wisi</a:t>
            </a:r>
            <a:r>
              <a:rPr sz="1000" b="1" spc="-10" dirty="0">
                <a:solidFill>
                  <a:schemeClr val="tx2"/>
                </a:solidFill>
                <a:latin typeface="Alliance No.2" pitchFamily="2" charset="77"/>
                <a:cs typeface="Alliance No.2"/>
              </a:rPr>
              <a:t> </a:t>
            </a:r>
            <a:r>
              <a:rPr sz="1000" b="1" spc="-20" dirty="0" err="1">
                <a:solidFill>
                  <a:schemeClr val="tx2"/>
                </a:solidFill>
                <a:latin typeface="Alliance No.2" pitchFamily="2" charset="77"/>
                <a:cs typeface="Alliance No.2"/>
              </a:rPr>
              <a:t>enim</a:t>
            </a:r>
            <a:r>
              <a:rPr sz="1000" b="1" spc="-20" dirty="0">
                <a:solidFill>
                  <a:schemeClr val="tx2"/>
                </a:solidFill>
                <a:latin typeface="Alliance No.2" pitchFamily="2" charset="77"/>
                <a:cs typeface="Alliance No.2"/>
              </a:rPr>
              <a:t> </a:t>
            </a:r>
            <a:r>
              <a:rPr sz="1000" b="1" dirty="0">
                <a:solidFill>
                  <a:schemeClr val="tx2"/>
                </a:solidFill>
                <a:latin typeface="Alliance No.2" pitchFamily="2" charset="77"/>
                <a:cs typeface="Alliance No.2"/>
              </a:rPr>
              <a:t>ad</a:t>
            </a:r>
            <a:r>
              <a:rPr sz="1000" b="1" spc="-5" dirty="0">
                <a:solidFill>
                  <a:schemeClr val="tx2"/>
                </a:solidFill>
                <a:latin typeface="Alliance No.2" pitchFamily="2" charset="77"/>
                <a:cs typeface="Alliance No.2"/>
              </a:rPr>
              <a:t> </a:t>
            </a:r>
            <a:r>
              <a:rPr sz="1000" b="1" dirty="0">
                <a:solidFill>
                  <a:schemeClr val="tx2"/>
                </a:solidFill>
                <a:latin typeface="Alliance No.2" pitchFamily="2" charset="77"/>
                <a:cs typeface="Alliance No.2"/>
              </a:rPr>
              <a:t>minim </a:t>
            </a:r>
            <a:r>
              <a:rPr sz="1000" b="1" dirty="0" err="1">
                <a:solidFill>
                  <a:schemeClr val="tx2"/>
                </a:solidFill>
                <a:latin typeface="Alliance No.2" pitchFamily="2" charset="77"/>
                <a:cs typeface="Alliance No.2"/>
              </a:rPr>
              <a:t>veniam</a:t>
            </a:r>
            <a:r>
              <a:rPr sz="1000" b="1" dirty="0">
                <a:solidFill>
                  <a:schemeClr val="tx2"/>
                </a:solidFill>
                <a:latin typeface="Alliance No.2" pitchFamily="2" charset="77"/>
                <a:cs typeface="Alliance No.2"/>
              </a:rPr>
              <a:t>, </a:t>
            </a:r>
            <a:r>
              <a:rPr sz="1000" b="1" spc="-10" dirty="0" err="1">
                <a:solidFill>
                  <a:schemeClr val="tx2"/>
                </a:solidFill>
                <a:latin typeface="Alliance No.2" pitchFamily="2" charset="77"/>
                <a:cs typeface="Alliance No.2"/>
              </a:rPr>
              <a:t>quis</a:t>
            </a:r>
            <a:r>
              <a:rPr sz="1000" b="1" spc="-10" dirty="0">
                <a:solidFill>
                  <a:schemeClr val="tx2"/>
                </a:solidFill>
                <a:latin typeface="Alliance No.2" pitchFamily="2" charset="77"/>
                <a:cs typeface="Alliance No.2"/>
              </a:rPr>
              <a:t>.</a:t>
            </a:r>
            <a:endParaRPr sz="1000" b="1" dirty="0">
              <a:solidFill>
                <a:schemeClr val="tx2"/>
              </a:solidFill>
              <a:latin typeface="Alliance No.2" pitchFamily="2" charset="77"/>
              <a:cs typeface="Alliance No.2"/>
            </a:endParaRPr>
          </a:p>
        </p:txBody>
      </p:sp>
      <p:sp>
        <p:nvSpPr>
          <p:cNvPr id="4" name="object 4"/>
          <p:cNvSpPr txBox="1">
            <a:spLocks noGrp="1"/>
          </p:cNvSpPr>
          <p:nvPr>
            <p:ph type="title" idx="4294967295"/>
          </p:nvPr>
        </p:nvSpPr>
        <p:spPr>
          <a:xfrm>
            <a:off x="466515" y="1843088"/>
            <a:ext cx="6024563" cy="1281112"/>
          </a:xfrm>
          <a:prstGeom prst="rect">
            <a:avLst/>
          </a:prstGeom>
        </p:spPr>
        <p:txBody>
          <a:bodyPr vert="horz" wrap="square" lIns="0" tIns="186690" rIns="0" bIns="0" rtlCol="0" anchor="b">
            <a:normAutofit/>
          </a:bodyPr>
          <a:lstStyle/>
          <a:p>
            <a:pPr marL="635" marR="5080">
              <a:lnSpc>
                <a:spcPct val="75500"/>
              </a:lnSpc>
            </a:pPr>
            <a:r>
              <a:rPr spc="-140" dirty="0">
                <a:solidFill>
                  <a:schemeClr val="accent2"/>
                </a:solidFill>
              </a:rPr>
              <a:t>Lorem</a:t>
            </a:r>
            <a:r>
              <a:rPr spc="-160" dirty="0">
                <a:solidFill>
                  <a:schemeClr val="accent2"/>
                </a:solidFill>
              </a:rPr>
              <a:t> </a:t>
            </a:r>
            <a:r>
              <a:rPr spc="-110" dirty="0">
                <a:solidFill>
                  <a:schemeClr val="accent2"/>
                </a:solidFill>
              </a:rPr>
              <a:t>ipsum</a:t>
            </a:r>
            <a:r>
              <a:rPr spc="-160" dirty="0">
                <a:solidFill>
                  <a:schemeClr val="accent2"/>
                </a:solidFill>
              </a:rPr>
              <a:t> </a:t>
            </a:r>
            <a:r>
              <a:rPr spc="-105" dirty="0">
                <a:solidFill>
                  <a:schemeClr val="accent2"/>
                </a:solidFill>
              </a:rPr>
              <a:t>dolor</a:t>
            </a:r>
            <a:r>
              <a:rPr spc="-155" dirty="0">
                <a:solidFill>
                  <a:schemeClr val="accent2"/>
                </a:solidFill>
              </a:rPr>
              <a:t> </a:t>
            </a:r>
            <a:r>
              <a:rPr spc="-20" dirty="0">
                <a:solidFill>
                  <a:schemeClr val="accent2"/>
                </a:solidFill>
              </a:rPr>
              <a:t>sit, </a:t>
            </a:r>
            <a:r>
              <a:rPr spc="-114" dirty="0" err="1">
                <a:solidFill>
                  <a:schemeClr val="accent2"/>
                </a:solidFill>
              </a:rPr>
              <a:t>amet</a:t>
            </a:r>
            <a:r>
              <a:rPr spc="-170" dirty="0">
                <a:solidFill>
                  <a:schemeClr val="accent2"/>
                </a:solidFill>
              </a:rPr>
              <a:t> </a:t>
            </a:r>
            <a:r>
              <a:rPr spc="-45" dirty="0" err="1">
                <a:solidFill>
                  <a:schemeClr val="accent2"/>
                </a:solidFill>
              </a:rPr>
              <a:t>consectetuer</a:t>
            </a:r>
            <a:r>
              <a:rPr spc="-45" dirty="0">
                <a:solidFill>
                  <a:schemeClr val="accent2"/>
                </a:solidFill>
              </a:rPr>
              <a:t>.</a:t>
            </a:r>
          </a:p>
        </p:txBody>
      </p:sp>
      <p:sp>
        <p:nvSpPr>
          <p:cNvPr id="5" name="object 5"/>
          <p:cNvSpPr txBox="1"/>
          <p:nvPr/>
        </p:nvSpPr>
        <p:spPr>
          <a:xfrm>
            <a:off x="466515" y="3564322"/>
            <a:ext cx="6108910" cy="564236"/>
          </a:xfrm>
          <a:prstGeom prst="rect">
            <a:avLst/>
          </a:prstGeom>
        </p:spPr>
        <p:txBody>
          <a:bodyPr vert="horz" wrap="square" lIns="0" tIns="12700" rIns="0" bIns="0" rtlCol="0">
            <a:normAutofit/>
          </a:bodyPr>
          <a:lstStyle/>
          <a:p>
            <a:pPr>
              <a:lnSpc>
                <a:spcPct val="100000"/>
              </a:lnSpc>
            </a:pPr>
            <a:r>
              <a:rPr sz="1400" dirty="0">
                <a:solidFill>
                  <a:schemeClr val="tx2"/>
                </a:solidFill>
                <a:latin typeface="Alliance No.2"/>
                <a:cs typeface="Alliance No.2"/>
              </a:rPr>
              <a:t>Lorem</a:t>
            </a:r>
            <a:r>
              <a:rPr sz="1400" spc="-1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400" dirty="0">
                <a:solidFill>
                  <a:schemeClr val="tx2"/>
                </a:solidFill>
                <a:latin typeface="Alliance No.2"/>
                <a:cs typeface="Alliance No.2"/>
              </a:rPr>
              <a:t>ipsum</a:t>
            </a:r>
            <a:r>
              <a:rPr sz="1400" spc="-1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400" dirty="0">
                <a:solidFill>
                  <a:schemeClr val="tx2"/>
                </a:solidFill>
                <a:latin typeface="Alliance No.2"/>
                <a:cs typeface="Alliance No.2"/>
              </a:rPr>
              <a:t>dolor</a:t>
            </a:r>
            <a:r>
              <a:rPr sz="1400" spc="-15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400" dirty="0">
                <a:solidFill>
                  <a:schemeClr val="tx2"/>
                </a:solidFill>
                <a:latin typeface="Alliance No.2"/>
                <a:cs typeface="Alliance No.2"/>
              </a:rPr>
              <a:t>sit</a:t>
            </a:r>
            <a:r>
              <a:rPr sz="1400" spc="-10" dirty="0">
                <a:solidFill>
                  <a:schemeClr val="tx2"/>
                </a:solidFill>
                <a:latin typeface="Alliance No.2"/>
                <a:cs typeface="Alliance No.2"/>
              </a:rPr>
              <a:t> </a:t>
            </a:r>
            <a:r>
              <a:rPr sz="1400" spc="-20" dirty="0" err="1">
                <a:solidFill>
                  <a:schemeClr val="tx2"/>
                </a:solidFill>
                <a:latin typeface="Alliance No.2"/>
                <a:cs typeface="Alliance No.2"/>
              </a:rPr>
              <a:t>amet</a:t>
            </a:r>
            <a:endParaRPr sz="1400" dirty="0">
              <a:solidFill>
                <a:schemeClr val="tx2"/>
              </a:solidFill>
              <a:latin typeface="Alliance No.2"/>
              <a:cs typeface="Alliance No.2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466515" y="3352126"/>
            <a:ext cx="297180" cy="33020"/>
          </a:xfrm>
          <a:custGeom>
            <a:avLst/>
            <a:gdLst/>
            <a:ahLst/>
            <a:cxnLst/>
            <a:rect l="l" t="t" r="r" b="b"/>
            <a:pathLst>
              <a:path w="297180" h="33020">
                <a:moveTo>
                  <a:pt x="296964" y="0"/>
                </a:moveTo>
                <a:lnTo>
                  <a:pt x="0" y="0"/>
                </a:lnTo>
                <a:lnTo>
                  <a:pt x="0" y="32435"/>
                </a:lnTo>
                <a:lnTo>
                  <a:pt x="296964" y="32435"/>
                </a:lnTo>
                <a:lnTo>
                  <a:pt x="296964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3267074" y="8024736"/>
            <a:ext cx="4066169" cy="412934"/>
          </a:xfrm>
          <a:prstGeom prst="rect">
            <a:avLst/>
          </a:prstGeom>
        </p:spPr>
        <p:txBody>
          <a:bodyPr vert="horz" wrap="square" lIns="108000" tIns="0" rIns="0" bIns="0" rtlCol="0">
            <a:spAutoFit/>
          </a:bodyPr>
          <a:lstStyle/>
          <a:p>
            <a:pPr>
              <a:lnSpc>
                <a:spcPct val="100000"/>
              </a:lnSpc>
              <a:tabLst>
                <a:tab pos="4298315" algn="l"/>
              </a:tabLst>
            </a:pPr>
            <a:r>
              <a:rPr sz="1300" b="1" dirty="0">
                <a:solidFill>
                  <a:schemeClr val="accent2"/>
                </a:solidFill>
                <a:latin typeface="Alliance No.2"/>
                <a:cs typeface="Alliance No.2"/>
              </a:rPr>
              <a:t>For</a:t>
            </a:r>
            <a:r>
              <a:rPr sz="1300" b="1" spc="-20" dirty="0">
                <a:solidFill>
                  <a:schemeClr val="accent2"/>
                </a:solidFill>
                <a:latin typeface="Alliance No.2"/>
                <a:cs typeface="Alliance No.2"/>
              </a:rPr>
              <a:t> </a:t>
            </a:r>
            <a:r>
              <a:rPr sz="1300" b="1" dirty="0">
                <a:solidFill>
                  <a:schemeClr val="accent2"/>
                </a:solidFill>
                <a:latin typeface="Alliance No.2"/>
                <a:cs typeface="Alliance No.2"/>
              </a:rPr>
              <a:t>more</a:t>
            </a:r>
            <a:r>
              <a:rPr sz="1300" b="1" spc="-15" dirty="0">
                <a:solidFill>
                  <a:schemeClr val="accent2"/>
                </a:solidFill>
                <a:latin typeface="Alliance No.2"/>
                <a:cs typeface="Alliance No.2"/>
              </a:rPr>
              <a:t> </a:t>
            </a:r>
            <a:r>
              <a:rPr sz="1300" b="1" spc="-10" dirty="0">
                <a:solidFill>
                  <a:schemeClr val="accent2"/>
                </a:solidFill>
                <a:latin typeface="Alliance No.2"/>
                <a:cs typeface="Alliance No.2"/>
              </a:rPr>
              <a:t>information</a:t>
            </a:r>
            <a:r>
              <a:rPr sz="1300" b="1" spc="-15" dirty="0">
                <a:solidFill>
                  <a:schemeClr val="accent2"/>
                </a:solidFill>
                <a:latin typeface="Alliance No.2"/>
                <a:cs typeface="Alliance No.2"/>
              </a:rPr>
              <a:t> </a:t>
            </a:r>
            <a:r>
              <a:rPr sz="1300" b="1" dirty="0">
                <a:solidFill>
                  <a:schemeClr val="accent2"/>
                </a:solidFill>
                <a:latin typeface="Alliance No.2"/>
                <a:cs typeface="Alliance No.2"/>
              </a:rPr>
              <a:t>register</a:t>
            </a:r>
            <a:r>
              <a:rPr sz="1300" b="1" spc="-15" dirty="0">
                <a:solidFill>
                  <a:schemeClr val="accent2"/>
                </a:solidFill>
                <a:latin typeface="Alliance No.2"/>
                <a:cs typeface="Alliance No.2"/>
              </a:rPr>
              <a:t> </a:t>
            </a:r>
            <a:r>
              <a:rPr sz="1300" b="1" spc="-25" dirty="0">
                <a:solidFill>
                  <a:schemeClr val="accent2"/>
                </a:solidFill>
                <a:latin typeface="Alliance No.2"/>
                <a:cs typeface="Alliance No.2"/>
              </a:rPr>
              <a:t>at:</a:t>
            </a:r>
            <a:endParaRPr sz="1300" dirty="0">
              <a:solidFill>
                <a:schemeClr val="accent2"/>
              </a:solidFill>
              <a:latin typeface="Alliance No.2"/>
              <a:cs typeface="Alliance No.2"/>
            </a:endParaRPr>
          </a:p>
          <a:p>
            <a:pPr>
              <a:lnSpc>
                <a:spcPct val="100000"/>
              </a:lnSpc>
              <a:spcBef>
                <a:spcPts val="40"/>
              </a:spcBef>
            </a:pPr>
            <a:r>
              <a:rPr sz="1300" b="0" u="sng" spc="-10" dirty="0">
                <a:solidFill>
                  <a:schemeClr val="accent2"/>
                </a:solidFill>
                <a:uFill>
                  <a:solidFill>
                    <a:srgbClr val="1E7DED"/>
                  </a:solidFill>
                </a:uFill>
                <a:latin typeface="Alliance No.2 Medium"/>
                <a:cs typeface="Alliance No.2 Medium"/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ohnsmith@spacecenter.org</a:t>
            </a:r>
            <a:endParaRPr sz="1300" dirty="0">
              <a:solidFill>
                <a:schemeClr val="accent2"/>
              </a:solidFill>
              <a:latin typeface="Alliance No.2 Medium"/>
              <a:cs typeface="Alliance No.2 Medium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3326987-7A77-E8EB-F2D6-FAAAE91FF2BE}"/>
              </a:ext>
            </a:extLst>
          </p:cNvPr>
          <p:cNvCxnSpPr/>
          <p:nvPr/>
        </p:nvCxnSpPr>
        <p:spPr>
          <a:xfrm>
            <a:off x="3084513" y="7883887"/>
            <a:ext cx="4219575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0577D82C-5E85-36F5-1F03-55A61412122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084513" y="8044166"/>
            <a:ext cx="176169" cy="155443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g object 16">
            <a:extLst>
              <a:ext uri="{FF2B5EF4-FFF2-40B4-BE49-F238E27FC236}">
                <a16:creationId xmlns:a16="http://schemas.microsoft.com/office/drawing/2014/main" id="{D175AED4-DC51-DC26-1142-119380CDBEAF}"/>
              </a:ext>
            </a:extLst>
          </p:cNvPr>
          <p:cNvSpPr/>
          <p:nvPr/>
        </p:nvSpPr>
        <p:spPr>
          <a:xfrm>
            <a:off x="0" y="0"/>
            <a:ext cx="7772400" cy="4947920"/>
          </a:xfrm>
          <a:custGeom>
            <a:avLst/>
            <a:gdLst/>
            <a:ahLst/>
            <a:cxnLst/>
            <a:rect l="l" t="t" r="r" b="b"/>
            <a:pathLst>
              <a:path w="7772400" h="4947920">
                <a:moveTo>
                  <a:pt x="7772400" y="0"/>
                </a:moveTo>
                <a:lnTo>
                  <a:pt x="0" y="0"/>
                </a:lnTo>
                <a:lnTo>
                  <a:pt x="0" y="4947513"/>
                </a:lnTo>
                <a:lnTo>
                  <a:pt x="7772400" y="4947513"/>
                </a:lnTo>
                <a:lnTo>
                  <a:pt x="7772400" y="0"/>
                </a:lnTo>
                <a:close/>
              </a:path>
            </a:pathLst>
          </a:custGeom>
          <a:solidFill>
            <a:srgbClr val="00001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DB2D1BB3-B8C4-E3B5-E164-40E9CDD89341}"/>
              </a:ext>
            </a:extLst>
          </p:cNvPr>
          <p:cNvSpPr/>
          <p:nvPr/>
        </p:nvSpPr>
        <p:spPr>
          <a:xfrm>
            <a:off x="0" y="4238744"/>
            <a:ext cx="7772400" cy="5819656"/>
          </a:xfrm>
          <a:custGeom>
            <a:avLst/>
            <a:gdLst>
              <a:gd name="connsiteX0" fmla="*/ 0 w 7772400"/>
              <a:gd name="connsiteY0" fmla="*/ 0 h 5819656"/>
              <a:gd name="connsiteX1" fmla="*/ 441595 w 7772400"/>
              <a:gd name="connsiteY1" fmla="*/ 0 h 5819656"/>
              <a:gd name="connsiteX2" fmla="*/ 5952235 w 7772400"/>
              <a:gd name="connsiteY2" fmla="*/ 0 h 5819656"/>
              <a:gd name="connsiteX3" fmla="*/ 7330805 w 7772400"/>
              <a:gd name="connsiteY3" fmla="*/ 0 h 5819656"/>
              <a:gd name="connsiteX4" fmla="*/ 7772400 w 7772400"/>
              <a:gd name="connsiteY4" fmla="*/ 441595 h 5819656"/>
              <a:gd name="connsiteX5" fmla="*/ 7772400 w 7772400"/>
              <a:gd name="connsiteY5" fmla="*/ 2066806 h 5819656"/>
              <a:gd name="connsiteX6" fmla="*/ 7772400 w 7772400"/>
              <a:gd name="connsiteY6" fmla="*/ 5378061 h 5819656"/>
              <a:gd name="connsiteX7" fmla="*/ 7772400 w 7772400"/>
              <a:gd name="connsiteY7" fmla="*/ 5819656 h 5819656"/>
              <a:gd name="connsiteX8" fmla="*/ 7330805 w 7772400"/>
              <a:gd name="connsiteY8" fmla="*/ 5819656 h 5819656"/>
              <a:gd name="connsiteX9" fmla="*/ 441595 w 7772400"/>
              <a:gd name="connsiteY9" fmla="*/ 5819656 h 5819656"/>
              <a:gd name="connsiteX10" fmla="*/ 0 w 7772400"/>
              <a:gd name="connsiteY10" fmla="*/ 5819656 h 5819656"/>
              <a:gd name="connsiteX11" fmla="*/ 0 w 7772400"/>
              <a:gd name="connsiteY11" fmla="*/ 2066806 h 5819656"/>
              <a:gd name="connsiteX12" fmla="*/ 0 w 7772400"/>
              <a:gd name="connsiteY12" fmla="*/ 2066806 h 5819656"/>
              <a:gd name="connsiteX13" fmla="*/ 0 w 7772400"/>
              <a:gd name="connsiteY13" fmla="*/ 441595 h 58196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7772400" h="5819656">
                <a:moveTo>
                  <a:pt x="0" y="0"/>
                </a:moveTo>
                <a:lnTo>
                  <a:pt x="441595" y="0"/>
                </a:lnTo>
                <a:lnTo>
                  <a:pt x="5952235" y="0"/>
                </a:lnTo>
                <a:lnTo>
                  <a:pt x="7330805" y="0"/>
                </a:lnTo>
                <a:cubicBezTo>
                  <a:pt x="7574691" y="0"/>
                  <a:pt x="7772400" y="197709"/>
                  <a:pt x="7772400" y="441595"/>
                </a:cubicBezTo>
                <a:lnTo>
                  <a:pt x="7772400" y="2066806"/>
                </a:lnTo>
                <a:lnTo>
                  <a:pt x="7772400" y="5378061"/>
                </a:lnTo>
                <a:lnTo>
                  <a:pt x="7772400" y="5819656"/>
                </a:lnTo>
                <a:lnTo>
                  <a:pt x="7330805" y="5819656"/>
                </a:lnTo>
                <a:lnTo>
                  <a:pt x="441595" y="5819656"/>
                </a:lnTo>
                <a:lnTo>
                  <a:pt x="0" y="5819656"/>
                </a:lnTo>
                <a:lnTo>
                  <a:pt x="0" y="2066806"/>
                </a:lnTo>
                <a:lnTo>
                  <a:pt x="0" y="2066806"/>
                </a:lnTo>
                <a:lnTo>
                  <a:pt x="0" y="44159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EFCE0275-499E-B846-0DC9-9B602EFFEDE8}"/>
              </a:ext>
            </a:extLst>
          </p:cNvPr>
          <p:cNvGrpSpPr/>
          <p:nvPr/>
        </p:nvGrpSpPr>
        <p:grpSpPr>
          <a:xfrm>
            <a:off x="458584" y="451446"/>
            <a:ext cx="1237159" cy="548871"/>
            <a:chOff x="458584" y="451446"/>
            <a:chExt cx="1237159" cy="548871"/>
          </a:xfrm>
        </p:grpSpPr>
        <p:pic>
          <p:nvPicPr>
            <p:cNvPr id="16" name="bg object 17">
              <a:extLst>
                <a:ext uri="{FF2B5EF4-FFF2-40B4-BE49-F238E27FC236}">
                  <a16:creationId xmlns:a16="http://schemas.microsoft.com/office/drawing/2014/main" id="{2C814D4A-9399-5EF3-4A52-C76D4E7A062F}"/>
                </a:ext>
              </a:extLst>
            </p:cNvPr>
            <p:cNvPicPr/>
            <p:nvPr userDrawn="1">
              <p:custDataLst>
                <p:tags r:id="rId4"/>
              </p:custDataLst>
            </p:nvPr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86089" y="470913"/>
              <a:ext cx="809654" cy="529404"/>
            </a:xfrm>
            <a:prstGeom prst="rect">
              <a:avLst/>
            </a:prstGeom>
          </p:spPr>
        </p:pic>
        <p:pic>
          <p:nvPicPr>
            <p:cNvPr id="20" name="bg object 19">
              <a:extLst>
                <a:ext uri="{FF2B5EF4-FFF2-40B4-BE49-F238E27FC236}">
                  <a16:creationId xmlns:a16="http://schemas.microsoft.com/office/drawing/2014/main" id="{854C8F71-4CBC-6B55-8FE6-D88F2CACB0BB}"/>
                </a:ext>
              </a:extLst>
            </p:cNvPr>
            <p:cNvPicPr/>
            <p:nvPr userDrawn="1">
              <p:custDataLst>
                <p:tags r:id="rId5"/>
              </p:custDataLst>
            </p:nvPr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5740" y="583707"/>
              <a:ext cx="118986" cy="118986"/>
            </a:xfrm>
            <a:prstGeom prst="rect">
              <a:avLst/>
            </a:prstGeom>
          </p:spPr>
        </p:pic>
        <p:sp>
          <p:nvSpPr>
            <p:cNvPr id="21" name="bg object 20">
              <a:extLst>
                <a:ext uri="{FF2B5EF4-FFF2-40B4-BE49-F238E27FC236}">
                  <a16:creationId xmlns:a16="http://schemas.microsoft.com/office/drawing/2014/main" id="{17C3C705-03AE-73E3-3963-391C7DC128E5}"/>
                </a:ext>
              </a:extLst>
            </p:cNvPr>
            <p:cNvSpPr/>
            <p:nvPr userDrawn="1"/>
          </p:nvSpPr>
          <p:spPr>
            <a:xfrm>
              <a:off x="458584" y="451446"/>
              <a:ext cx="353695" cy="383540"/>
            </a:xfrm>
            <a:custGeom>
              <a:avLst/>
              <a:gdLst/>
              <a:ahLst/>
              <a:cxnLst/>
              <a:rect l="l" t="t" r="r" b="b"/>
              <a:pathLst>
                <a:path w="353695" h="383540">
                  <a:moveTo>
                    <a:pt x="289636" y="92748"/>
                  </a:moveTo>
                  <a:lnTo>
                    <a:pt x="231635" y="53365"/>
                  </a:lnTo>
                  <a:lnTo>
                    <a:pt x="178638" y="27279"/>
                  </a:lnTo>
                  <a:lnTo>
                    <a:pt x="129768" y="9791"/>
                  </a:lnTo>
                  <a:lnTo>
                    <a:pt x="86499" y="736"/>
                  </a:lnTo>
                  <a:lnTo>
                    <a:pt x="50330" y="0"/>
                  </a:lnTo>
                  <a:lnTo>
                    <a:pt x="22745" y="7416"/>
                  </a:lnTo>
                  <a:lnTo>
                    <a:pt x="5245" y="22821"/>
                  </a:lnTo>
                  <a:lnTo>
                    <a:pt x="0" y="55778"/>
                  </a:lnTo>
                  <a:lnTo>
                    <a:pt x="16408" y="97129"/>
                  </a:lnTo>
                  <a:lnTo>
                    <a:pt x="51752" y="143167"/>
                  </a:lnTo>
                  <a:lnTo>
                    <a:pt x="103251" y="190169"/>
                  </a:lnTo>
                  <a:lnTo>
                    <a:pt x="104927" y="191477"/>
                  </a:lnTo>
                  <a:lnTo>
                    <a:pt x="107315" y="191350"/>
                  </a:lnTo>
                  <a:lnTo>
                    <a:pt x="108826" y="189839"/>
                  </a:lnTo>
                  <a:lnTo>
                    <a:pt x="110629" y="188036"/>
                  </a:lnTo>
                  <a:lnTo>
                    <a:pt x="110591" y="185331"/>
                  </a:lnTo>
                  <a:lnTo>
                    <a:pt x="108877" y="183692"/>
                  </a:lnTo>
                  <a:lnTo>
                    <a:pt x="74079" y="145834"/>
                  </a:lnTo>
                  <a:lnTo>
                    <a:pt x="51117" y="110007"/>
                  </a:lnTo>
                  <a:lnTo>
                    <a:pt x="41554" y="78333"/>
                  </a:lnTo>
                  <a:lnTo>
                    <a:pt x="46990" y="52908"/>
                  </a:lnTo>
                  <a:lnTo>
                    <a:pt x="71120" y="35496"/>
                  </a:lnTo>
                  <a:lnTo>
                    <a:pt x="110515" y="31724"/>
                  </a:lnTo>
                  <a:lnTo>
                    <a:pt x="161417" y="40906"/>
                  </a:lnTo>
                  <a:lnTo>
                    <a:pt x="220040" y="62293"/>
                  </a:lnTo>
                  <a:lnTo>
                    <a:pt x="284302" y="96202"/>
                  </a:lnTo>
                  <a:lnTo>
                    <a:pt x="286435" y="95961"/>
                  </a:lnTo>
                  <a:lnTo>
                    <a:pt x="289636" y="92748"/>
                  </a:lnTo>
                  <a:close/>
                </a:path>
                <a:path w="353695" h="383540">
                  <a:moveTo>
                    <a:pt x="353288" y="327723"/>
                  </a:moveTo>
                  <a:lnTo>
                    <a:pt x="336867" y="286372"/>
                  </a:lnTo>
                  <a:lnTo>
                    <a:pt x="301536" y="240347"/>
                  </a:lnTo>
                  <a:lnTo>
                    <a:pt x="250037" y="193344"/>
                  </a:lnTo>
                  <a:lnTo>
                    <a:pt x="248361" y="192024"/>
                  </a:lnTo>
                  <a:lnTo>
                    <a:pt x="245973" y="192163"/>
                  </a:lnTo>
                  <a:lnTo>
                    <a:pt x="242658" y="195465"/>
                  </a:lnTo>
                  <a:lnTo>
                    <a:pt x="242697" y="198183"/>
                  </a:lnTo>
                  <a:lnTo>
                    <a:pt x="244411" y="199809"/>
                  </a:lnTo>
                  <a:lnTo>
                    <a:pt x="279209" y="237680"/>
                  </a:lnTo>
                  <a:lnTo>
                    <a:pt x="302171" y="273494"/>
                  </a:lnTo>
                  <a:lnTo>
                    <a:pt x="311734" y="305168"/>
                  </a:lnTo>
                  <a:lnTo>
                    <a:pt x="306298" y="330593"/>
                  </a:lnTo>
                  <a:lnTo>
                    <a:pt x="282168" y="348018"/>
                  </a:lnTo>
                  <a:lnTo>
                    <a:pt x="242773" y="351790"/>
                  </a:lnTo>
                  <a:lnTo>
                    <a:pt x="191871" y="342620"/>
                  </a:lnTo>
                  <a:lnTo>
                    <a:pt x="133248" y="321221"/>
                  </a:lnTo>
                  <a:lnTo>
                    <a:pt x="68973" y="287299"/>
                  </a:lnTo>
                  <a:lnTo>
                    <a:pt x="66852" y="287553"/>
                  </a:lnTo>
                  <a:lnTo>
                    <a:pt x="63639" y="290753"/>
                  </a:lnTo>
                  <a:lnTo>
                    <a:pt x="63881" y="293827"/>
                  </a:lnTo>
                  <a:lnTo>
                    <a:pt x="121653" y="330149"/>
                  </a:lnTo>
                  <a:lnTo>
                    <a:pt x="174650" y="356235"/>
                  </a:lnTo>
                  <a:lnTo>
                    <a:pt x="223532" y="373722"/>
                  </a:lnTo>
                  <a:lnTo>
                    <a:pt x="266788" y="382765"/>
                  </a:lnTo>
                  <a:lnTo>
                    <a:pt x="302958" y="383514"/>
                  </a:lnTo>
                  <a:lnTo>
                    <a:pt x="330530" y="376097"/>
                  </a:lnTo>
                  <a:lnTo>
                    <a:pt x="348030" y="360680"/>
                  </a:lnTo>
                  <a:lnTo>
                    <a:pt x="353288" y="32772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" name="object 2"/>
          <p:cNvSpPr txBox="1">
            <a:spLocks noGrp="1"/>
          </p:cNvSpPr>
          <p:nvPr>
            <p:ph type="title" idx="4294967295"/>
          </p:nvPr>
        </p:nvSpPr>
        <p:spPr>
          <a:xfrm>
            <a:off x="471487" y="1809843"/>
            <a:ext cx="5653541" cy="2012858"/>
          </a:xfrm>
          <a:prstGeom prst="rect">
            <a:avLst/>
          </a:prstGeom>
        </p:spPr>
        <p:txBody>
          <a:bodyPr vert="horz" wrap="square" lIns="0" tIns="0" rIns="0" bIns="0" rtlCol="0" anchor="b">
            <a:normAutofit/>
          </a:bodyPr>
          <a:lstStyle/>
          <a:p>
            <a:pPr marR="5080">
              <a:lnSpc>
                <a:spcPct val="77800"/>
              </a:lnSpc>
            </a:pPr>
            <a:r>
              <a:rPr sz="6600" spc="-150" dirty="0">
                <a:solidFill>
                  <a:schemeClr val="accent2"/>
                </a:solidFill>
              </a:rPr>
              <a:t>Lorem</a:t>
            </a:r>
            <a:r>
              <a:rPr sz="6600" spc="-229" dirty="0">
                <a:solidFill>
                  <a:schemeClr val="accent2"/>
                </a:solidFill>
              </a:rPr>
              <a:t> </a:t>
            </a:r>
            <a:r>
              <a:rPr sz="6600" spc="-10" dirty="0">
                <a:solidFill>
                  <a:schemeClr val="accent2"/>
                </a:solidFill>
              </a:rPr>
              <a:t>ipsum </a:t>
            </a:r>
            <a:r>
              <a:rPr sz="6600" spc="-105" dirty="0">
                <a:solidFill>
                  <a:schemeClr val="accent2"/>
                </a:solidFill>
              </a:rPr>
              <a:t>dolor</a:t>
            </a:r>
            <a:r>
              <a:rPr sz="6600" spc="-260" dirty="0">
                <a:solidFill>
                  <a:schemeClr val="accent2"/>
                </a:solidFill>
              </a:rPr>
              <a:t> </a:t>
            </a:r>
            <a:r>
              <a:rPr sz="6600" spc="-60" dirty="0">
                <a:solidFill>
                  <a:schemeClr val="accent2"/>
                </a:solidFill>
              </a:rPr>
              <a:t>sit,</a:t>
            </a:r>
            <a:r>
              <a:rPr sz="6600" spc="-295" dirty="0">
                <a:solidFill>
                  <a:schemeClr val="accent2"/>
                </a:solidFill>
              </a:rPr>
              <a:t> </a:t>
            </a:r>
            <a:r>
              <a:rPr sz="6600" spc="-125" dirty="0" err="1">
                <a:solidFill>
                  <a:schemeClr val="accent2"/>
                </a:solidFill>
              </a:rPr>
              <a:t>amet</a:t>
            </a:r>
            <a:endParaRPr sz="6600" dirty="0">
              <a:solidFill>
                <a:schemeClr val="accent2"/>
              </a:solidFill>
            </a:endParaRPr>
          </a:p>
        </p:txBody>
      </p:sp>
      <p:pic>
        <p:nvPicPr>
          <p:cNvPr id="4" name="object 4"/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7090" t="-1" r="-1" b="-10308"/>
          <a:stretch/>
        </p:blipFill>
        <p:spPr>
          <a:xfrm>
            <a:off x="-469314" y="8028687"/>
            <a:ext cx="6027152" cy="2254450"/>
          </a:xfrm>
          <a:prstGeom prst="roundRect">
            <a:avLst>
              <a:gd name="adj" fmla="val 6970"/>
            </a:avLst>
          </a:prstGeom>
        </p:spPr>
      </p:pic>
      <p:pic>
        <p:nvPicPr>
          <p:cNvPr id="27" name="Graphic 26">
            <a:extLst>
              <a:ext uri="{FF2B5EF4-FFF2-40B4-BE49-F238E27FC236}">
                <a16:creationId xmlns:a16="http://schemas.microsoft.com/office/drawing/2014/main" id="{8A4B72B9-1465-3B73-1607-01C9C3045BCA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235383" y="8521383"/>
            <a:ext cx="1068705" cy="1068705"/>
          </a:xfrm>
          <a:prstGeom prst="rect">
            <a:avLst/>
          </a:prstGeom>
        </p:spPr>
      </p:pic>
      <p:sp>
        <p:nvSpPr>
          <p:cNvPr id="22" name="object 8">
            <a:extLst>
              <a:ext uri="{FF2B5EF4-FFF2-40B4-BE49-F238E27FC236}">
                <a16:creationId xmlns:a16="http://schemas.microsoft.com/office/drawing/2014/main" id="{3D79DB86-E1B5-176E-A426-94119B343285}"/>
              </a:ext>
            </a:extLst>
          </p:cNvPr>
          <p:cNvSpPr txBox="1"/>
          <p:nvPr/>
        </p:nvSpPr>
        <p:spPr>
          <a:xfrm>
            <a:off x="650080" y="7401231"/>
            <a:ext cx="5751315" cy="228268"/>
          </a:xfrm>
          <a:prstGeom prst="rect">
            <a:avLst/>
          </a:prstGeom>
        </p:spPr>
        <p:txBody>
          <a:bodyPr vert="horz" wrap="square" lIns="108000" tIns="0" rIns="0" bIns="0" rtlCol="0">
            <a:noAutofit/>
          </a:bodyPr>
          <a:lstStyle/>
          <a:p>
            <a:pPr>
              <a:lnSpc>
                <a:spcPct val="100000"/>
              </a:lnSpc>
              <a:tabLst>
                <a:tab pos="4298315" algn="l"/>
              </a:tabLst>
            </a:pPr>
            <a:r>
              <a:rPr sz="1400" dirty="0">
                <a:solidFill>
                  <a:schemeClr val="accent2"/>
                </a:solidFill>
                <a:latin typeface="Alliance No.2"/>
                <a:cs typeface="Alliance No.2"/>
              </a:rPr>
              <a:t>For</a:t>
            </a:r>
            <a:r>
              <a:rPr sz="1400" spc="-20" dirty="0">
                <a:solidFill>
                  <a:schemeClr val="accent2"/>
                </a:solidFill>
                <a:latin typeface="Alliance No.2"/>
                <a:cs typeface="Alliance No.2"/>
              </a:rPr>
              <a:t> </a:t>
            </a:r>
            <a:r>
              <a:rPr sz="1400" dirty="0">
                <a:solidFill>
                  <a:schemeClr val="accent2"/>
                </a:solidFill>
                <a:latin typeface="Alliance No.2"/>
                <a:cs typeface="Alliance No.2"/>
              </a:rPr>
              <a:t>more</a:t>
            </a:r>
            <a:r>
              <a:rPr sz="1400" spc="-15" dirty="0">
                <a:solidFill>
                  <a:schemeClr val="accent2"/>
                </a:solidFill>
                <a:latin typeface="Alliance No.2"/>
                <a:cs typeface="Alliance No.2"/>
              </a:rPr>
              <a:t> </a:t>
            </a:r>
            <a:r>
              <a:rPr sz="1400" spc="-10" dirty="0">
                <a:solidFill>
                  <a:schemeClr val="accent2"/>
                </a:solidFill>
                <a:latin typeface="Alliance No.2"/>
                <a:cs typeface="Alliance No.2"/>
              </a:rPr>
              <a:t>information</a:t>
            </a:r>
            <a:r>
              <a:rPr sz="1400" spc="-15" dirty="0">
                <a:solidFill>
                  <a:schemeClr val="accent2"/>
                </a:solidFill>
                <a:latin typeface="Alliance No.2"/>
                <a:cs typeface="Alliance No.2"/>
              </a:rPr>
              <a:t> </a:t>
            </a:r>
            <a:r>
              <a:rPr sz="1400" dirty="0">
                <a:solidFill>
                  <a:schemeClr val="accent2"/>
                </a:solidFill>
                <a:latin typeface="Alliance No.2"/>
                <a:cs typeface="Alliance No.2"/>
              </a:rPr>
              <a:t>register</a:t>
            </a:r>
            <a:r>
              <a:rPr sz="1400" spc="-15" dirty="0">
                <a:solidFill>
                  <a:schemeClr val="accent2"/>
                </a:solidFill>
                <a:latin typeface="Alliance No.2"/>
                <a:cs typeface="Alliance No.2"/>
              </a:rPr>
              <a:t> </a:t>
            </a:r>
            <a:r>
              <a:rPr sz="1400" spc="-25" dirty="0">
                <a:solidFill>
                  <a:schemeClr val="accent2"/>
                </a:solidFill>
                <a:latin typeface="Alliance No.2"/>
                <a:cs typeface="Alliance No.2"/>
              </a:rPr>
              <a:t>at:</a:t>
            </a:r>
            <a:r>
              <a:rPr lang="en-US" sz="1400" spc="-25" dirty="0">
                <a:solidFill>
                  <a:schemeClr val="accent2"/>
                </a:solidFill>
                <a:latin typeface="Alliance No.2"/>
                <a:cs typeface="Alliance No.2"/>
              </a:rPr>
              <a:t> </a:t>
            </a:r>
            <a:r>
              <a:rPr sz="1400" b="1" u="sng" spc="-10" dirty="0">
                <a:solidFill>
                  <a:schemeClr val="accent2"/>
                </a:solidFill>
                <a:uFill>
                  <a:solidFill>
                    <a:srgbClr val="1E7DED"/>
                  </a:solidFill>
                </a:uFill>
                <a:latin typeface="Alliance No.2 Medium"/>
                <a:cs typeface="Alliance No.2 Medium"/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ohnsmith@spacecenter.org</a:t>
            </a:r>
            <a:r>
              <a:rPr lang="en-US" sz="1400" b="0" u="sng" spc="-10" dirty="0">
                <a:solidFill>
                  <a:schemeClr val="accent2"/>
                </a:solidFill>
                <a:uFill>
                  <a:solidFill>
                    <a:srgbClr val="1E7DED"/>
                  </a:solidFill>
                </a:uFill>
                <a:latin typeface="Alliance No.2 Medium"/>
                <a:cs typeface="Alliance No.2 Medium"/>
              </a:rPr>
              <a:t>.</a:t>
            </a:r>
            <a:endParaRPr sz="1400" dirty="0">
              <a:solidFill>
                <a:schemeClr val="accent2"/>
              </a:solidFill>
              <a:latin typeface="Alliance No.2 Medium"/>
              <a:cs typeface="Alliance No.2 Medium"/>
            </a:endParaRPr>
          </a:p>
        </p:txBody>
      </p:sp>
      <p:sp>
        <p:nvSpPr>
          <p:cNvPr id="23" name="object 12">
            <a:extLst>
              <a:ext uri="{FF2B5EF4-FFF2-40B4-BE49-F238E27FC236}">
                <a16:creationId xmlns:a16="http://schemas.microsoft.com/office/drawing/2014/main" id="{E6024E88-B5C2-0A7C-EE40-F129B31FBF7A}"/>
              </a:ext>
            </a:extLst>
          </p:cNvPr>
          <p:cNvSpPr txBox="1"/>
          <p:nvPr/>
        </p:nvSpPr>
        <p:spPr>
          <a:xfrm>
            <a:off x="476249" y="4575923"/>
            <a:ext cx="6875464" cy="2650534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 marR="106045" algn="l">
              <a:spcAft>
                <a:spcPts val="800"/>
              </a:spcAft>
            </a:pPr>
            <a:r>
              <a:rPr lang="en-US" sz="2000" dirty="0">
                <a:solidFill>
                  <a:schemeClr val="tx2"/>
                </a:solidFill>
                <a:latin typeface="Alliance No.2 Medium"/>
              </a:rPr>
              <a:t>Ut </a:t>
            </a:r>
            <a:r>
              <a:rPr lang="en-US" sz="2000" dirty="0" err="1">
                <a:solidFill>
                  <a:schemeClr val="tx2"/>
                </a:solidFill>
                <a:latin typeface="Alliance No.2 Medium"/>
              </a:rPr>
              <a:t>wisi</a:t>
            </a:r>
            <a:r>
              <a:rPr lang="en-US" sz="2000" dirty="0">
                <a:solidFill>
                  <a:schemeClr val="tx2"/>
                </a:solidFill>
                <a:latin typeface="Alliance No.2 Medium"/>
              </a:rPr>
              <a:t> </a:t>
            </a:r>
            <a:r>
              <a:rPr lang="en-US" sz="2000" dirty="0" err="1">
                <a:solidFill>
                  <a:schemeClr val="tx2"/>
                </a:solidFill>
                <a:latin typeface="Alliance No.2 Medium"/>
              </a:rPr>
              <a:t>enim</a:t>
            </a:r>
            <a:r>
              <a:rPr lang="en-US" sz="2000" dirty="0">
                <a:solidFill>
                  <a:schemeClr val="tx2"/>
                </a:solidFill>
                <a:latin typeface="Alliance No.2 Medium"/>
              </a:rPr>
              <a:t> ad minim </a:t>
            </a:r>
            <a:r>
              <a:rPr lang="en-US" sz="2000" dirty="0" err="1">
                <a:solidFill>
                  <a:schemeClr val="tx2"/>
                </a:solidFill>
                <a:latin typeface="Alliance No.2 Medium"/>
              </a:rPr>
              <a:t>veniam</a:t>
            </a:r>
            <a:r>
              <a:rPr lang="en-US" sz="2000" dirty="0">
                <a:solidFill>
                  <a:schemeClr val="tx2"/>
                </a:solidFill>
                <a:latin typeface="Alliance No.2 Medium"/>
              </a:rPr>
              <a:t>, </a:t>
            </a:r>
            <a:r>
              <a:rPr lang="en-US" sz="2000" dirty="0" err="1">
                <a:solidFill>
                  <a:schemeClr val="tx2"/>
                </a:solidFill>
                <a:latin typeface="Alliance No.2 Medium"/>
              </a:rPr>
              <a:t>quis</a:t>
            </a:r>
            <a:r>
              <a:rPr lang="en-US" sz="2000" dirty="0">
                <a:solidFill>
                  <a:schemeClr val="tx2"/>
                </a:solidFill>
                <a:latin typeface="Alliance No.2 Medium"/>
              </a:rPr>
              <a:t> </a:t>
            </a:r>
            <a:br>
              <a:rPr lang="en-US" sz="2000" dirty="0">
                <a:solidFill>
                  <a:schemeClr val="tx2"/>
                </a:solidFill>
                <a:latin typeface="Alliance No.2 Medium"/>
              </a:rPr>
            </a:br>
            <a:r>
              <a:rPr lang="en-US" sz="2000" dirty="0" err="1">
                <a:solidFill>
                  <a:schemeClr val="tx2"/>
                </a:solidFill>
                <a:latin typeface="Alliance No.2 Medium"/>
              </a:rPr>
              <a:t>nostrud</a:t>
            </a:r>
            <a:r>
              <a:rPr lang="en-US" sz="2000" dirty="0">
                <a:solidFill>
                  <a:schemeClr val="tx2"/>
                </a:solidFill>
                <a:latin typeface="Alliance No.2 Medium"/>
              </a:rPr>
              <a:t> </a:t>
            </a:r>
            <a:r>
              <a:rPr lang="en-US" sz="2000" dirty="0" err="1">
                <a:solidFill>
                  <a:schemeClr val="tx2"/>
                </a:solidFill>
                <a:latin typeface="Alliance No.2 Medium"/>
              </a:rPr>
              <a:t>exerci</a:t>
            </a:r>
            <a:r>
              <a:rPr lang="en-US" sz="2000" dirty="0">
                <a:solidFill>
                  <a:schemeClr val="tx2"/>
                </a:solidFill>
                <a:latin typeface="Alliance No.2 Medium"/>
              </a:rPr>
              <a:t> </a:t>
            </a:r>
            <a:r>
              <a:rPr lang="en-US" sz="2000" dirty="0" err="1">
                <a:solidFill>
                  <a:schemeClr val="tx2"/>
                </a:solidFill>
                <a:latin typeface="Alliance No.2 Medium"/>
              </a:rPr>
              <a:t>tation</a:t>
            </a:r>
            <a:r>
              <a:rPr lang="en-US" sz="2000" dirty="0">
                <a:solidFill>
                  <a:schemeClr val="tx2"/>
                </a:solidFill>
                <a:latin typeface="Alliance No.2 Medium"/>
              </a:rPr>
              <a:t> </a:t>
            </a:r>
            <a:r>
              <a:rPr lang="en-US" sz="2000" dirty="0" err="1">
                <a:solidFill>
                  <a:schemeClr val="tx2"/>
                </a:solidFill>
                <a:latin typeface="Alliance No.2 Medium"/>
              </a:rPr>
              <a:t>ullamcorper</a:t>
            </a:r>
            <a:endParaRPr lang="en-US" sz="2000" dirty="0">
              <a:solidFill>
                <a:schemeClr val="tx2"/>
              </a:solidFill>
              <a:latin typeface="Alliance No.2 Medium"/>
            </a:endParaRPr>
          </a:p>
          <a:p>
            <a:pPr marR="0" lvl="0" indent="0" defTabSz="914400" eaLnBrk="1" fontAlgn="auto" latinLnBrk="0" hangingPunct="1">
              <a:lnSpc>
                <a:spcPct val="116000"/>
              </a:lnSpc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Lorem ipsum </a:t>
            </a:r>
            <a:r>
              <a:rPr kumimoji="0" lang="en-GB" sz="140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dolor</a:t>
            </a:r>
            <a:r>
              <a:rPr kumimoji="0" lang="en-GB" sz="14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 sit </a:t>
            </a:r>
            <a:r>
              <a:rPr kumimoji="0" lang="en-GB" sz="140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amet</a:t>
            </a:r>
            <a:r>
              <a:rPr kumimoji="0" lang="en-GB" sz="14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, </a:t>
            </a:r>
            <a:r>
              <a:rPr kumimoji="0" lang="en-GB" sz="140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consectetuer</a:t>
            </a:r>
            <a:r>
              <a:rPr kumimoji="0" lang="en-GB" sz="14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 </a:t>
            </a:r>
            <a:r>
              <a:rPr kumimoji="0" lang="en-GB" sz="140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adipiscing</a:t>
            </a:r>
            <a:r>
              <a:rPr kumimoji="0" lang="en-GB" sz="14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 </a:t>
            </a:r>
            <a:r>
              <a:rPr kumimoji="0" lang="en-GB" sz="140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elit</a:t>
            </a:r>
            <a:r>
              <a:rPr kumimoji="0" lang="en-GB" sz="14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, </a:t>
            </a:r>
            <a:r>
              <a:rPr kumimoji="0" lang="en-GB" sz="140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sed</a:t>
            </a:r>
            <a:r>
              <a:rPr kumimoji="0" lang="en-GB" sz="14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 Maecenas </a:t>
            </a:r>
            <a:r>
              <a:rPr kumimoji="0" lang="en-GB" sz="140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porttitor</a:t>
            </a:r>
            <a:r>
              <a:rPr kumimoji="0" lang="en-GB" sz="14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 </a:t>
            </a:r>
            <a:r>
              <a:rPr kumimoji="0" lang="en-GB" sz="140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congue</a:t>
            </a:r>
            <a:r>
              <a:rPr kumimoji="0" lang="en-GB" sz="14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 </a:t>
            </a:r>
            <a:r>
              <a:rPr kumimoji="0" lang="en-GB" sz="140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massa</a:t>
            </a:r>
            <a:r>
              <a:rPr kumimoji="0" lang="en-GB" sz="14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. </a:t>
            </a:r>
            <a:r>
              <a:rPr kumimoji="0" lang="en-GB" sz="140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Fusce</a:t>
            </a:r>
            <a:r>
              <a:rPr kumimoji="0" lang="en-GB" sz="14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 </a:t>
            </a:r>
            <a:r>
              <a:rPr kumimoji="0" lang="en-GB" sz="140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posuere</a:t>
            </a:r>
            <a:r>
              <a:rPr kumimoji="0" lang="en-GB" sz="14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, magna </a:t>
            </a:r>
            <a:r>
              <a:rPr kumimoji="0" lang="en-GB" sz="140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sed</a:t>
            </a:r>
            <a:r>
              <a:rPr kumimoji="0" lang="en-GB" sz="14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 pulvinar </a:t>
            </a:r>
            <a:r>
              <a:rPr kumimoji="0" lang="en-GB" sz="140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ultricies</a:t>
            </a:r>
            <a:r>
              <a:rPr kumimoji="0" lang="en-GB" sz="14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, </a:t>
            </a:r>
            <a:r>
              <a:rPr kumimoji="0" lang="en-GB" sz="140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purus</a:t>
            </a:r>
            <a:r>
              <a:rPr kumimoji="0" lang="en-GB" sz="14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 </a:t>
            </a:r>
            <a:r>
              <a:rPr kumimoji="0" lang="en-GB" sz="140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lectus</a:t>
            </a:r>
            <a:r>
              <a:rPr kumimoji="0" lang="en-GB" sz="14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 </a:t>
            </a:r>
            <a:r>
              <a:rPr kumimoji="0" lang="en-GB" sz="140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malesuada</a:t>
            </a:r>
            <a:r>
              <a:rPr kumimoji="0" lang="en-GB" sz="14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 libero,  </a:t>
            </a:r>
            <a:r>
              <a:rPr kumimoji="0" lang="es-ES" sz="14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magna sed pulvinar </a:t>
            </a:r>
            <a:r>
              <a:rPr kumimoji="0" lang="es-ES" sz="140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ultricies</a:t>
            </a:r>
            <a:r>
              <a:rPr kumimoji="0" lang="es-ES" sz="14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, </a:t>
            </a:r>
            <a:r>
              <a:rPr kumimoji="0" lang="es-ES" sz="140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purus</a:t>
            </a:r>
            <a:r>
              <a:rPr kumimoji="0" lang="es-ES" sz="14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 </a:t>
            </a:r>
            <a:r>
              <a:rPr kumimoji="0" lang="es-ES" sz="140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lectus</a:t>
            </a:r>
            <a:r>
              <a:rPr kumimoji="0" lang="es-ES" sz="14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 </a:t>
            </a:r>
            <a:r>
              <a:rPr kumimoji="0" lang="es-ES" sz="1400" b="0" i="0" u="none" strike="noStrike" kern="0" cap="none" spc="1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malesuada</a:t>
            </a:r>
            <a:r>
              <a:rPr kumimoji="0" lang="es-ES" sz="1400" b="0" i="0" u="none" strike="noStrike" kern="0" cap="none" spc="1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lliance No.2"/>
                <a:cs typeface="Alliance No.2"/>
              </a:rPr>
              <a:t> libero. </a:t>
            </a:r>
          </a:p>
          <a:p>
            <a:pPr marL="177800" indent="-168275">
              <a:lnSpc>
                <a:spcPct val="116000"/>
              </a:lnSpc>
              <a:spcBef>
                <a:spcPts val="100"/>
              </a:spcBef>
              <a:buFont typeface="Arial" panose="020B0604020202020204" pitchFamily="34" charset="0"/>
              <a:buChar char="•"/>
              <a:defRPr/>
            </a:pPr>
            <a:r>
              <a:rPr lang="en-GB" sz="1400" spc="1" dirty="0">
                <a:solidFill>
                  <a:schemeClr val="tx2"/>
                </a:solidFill>
                <a:latin typeface="Alliance No.2" pitchFamily="50" charset="0"/>
              </a:rPr>
              <a:t>Lorem ipsum </a:t>
            </a:r>
            <a:r>
              <a:rPr lang="en-GB" sz="1400" spc="1" dirty="0" err="1">
                <a:solidFill>
                  <a:schemeClr val="tx2"/>
                </a:solidFill>
                <a:latin typeface="Alliance No.2" pitchFamily="50" charset="0"/>
              </a:rPr>
              <a:t>dolor</a:t>
            </a:r>
            <a:r>
              <a:rPr lang="en-GB" sz="1400" spc="1" dirty="0">
                <a:solidFill>
                  <a:schemeClr val="tx2"/>
                </a:solidFill>
                <a:latin typeface="Alliance No.2" pitchFamily="50" charset="0"/>
              </a:rPr>
              <a:t> sit </a:t>
            </a:r>
            <a:r>
              <a:rPr lang="en-GB" sz="1400" spc="1" dirty="0" err="1">
                <a:solidFill>
                  <a:schemeClr val="tx2"/>
                </a:solidFill>
                <a:latin typeface="Alliance No.2" pitchFamily="50" charset="0"/>
              </a:rPr>
              <a:t>amet</a:t>
            </a:r>
            <a:r>
              <a:rPr lang="en-GB" sz="1400" spc="1" dirty="0">
                <a:solidFill>
                  <a:schemeClr val="tx2"/>
                </a:solidFill>
                <a:latin typeface="Alliance No.2" pitchFamily="50" charset="0"/>
              </a:rPr>
              <a:t>, </a:t>
            </a:r>
            <a:r>
              <a:rPr lang="en-GB" sz="1400" spc="1" dirty="0" err="1">
                <a:solidFill>
                  <a:schemeClr val="tx2"/>
                </a:solidFill>
                <a:latin typeface="Alliance No.2" pitchFamily="50" charset="0"/>
              </a:rPr>
              <a:t>consectetuer</a:t>
            </a:r>
            <a:r>
              <a:rPr lang="en-GB" sz="1400" spc="1" dirty="0">
                <a:solidFill>
                  <a:schemeClr val="tx2"/>
                </a:solidFill>
                <a:latin typeface="Alliance No.2" pitchFamily="50" charset="0"/>
              </a:rPr>
              <a:t> </a:t>
            </a:r>
            <a:r>
              <a:rPr lang="en-GB" sz="1400" spc="1" dirty="0" err="1">
                <a:solidFill>
                  <a:schemeClr val="tx2"/>
                </a:solidFill>
                <a:latin typeface="Alliance No.2" pitchFamily="50" charset="0"/>
              </a:rPr>
              <a:t>adipiscing</a:t>
            </a:r>
            <a:r>
              <a:rPr lang="en-GB" sz="1400" spc="1" dirty="0">
                <a:solidFill>
                  <a:schemeClr val="tx2"/>
                </a:solidFill>
                <a:latin typeface="Alliance No.2" pitchFamily="50" charset="0"/>
              </a:rPr>
              <a:t> </a:t>
            </a:r>
            <a:r>
              <a:rPr lang="en-GB" sz="1400" spc="1" dirty="0" err="1">
                <a:solidFill>
                  <a:schemeClr val="tx2"/>
                </a:solidFill>
                <a:latin typeface="Alliance No.2" pitchFamily="50" charset="0"/>
              </a:rPr>
              <a:t>elit</a:t>
            </a:r>
            <a:endParaRPr lang="en-GB" sz="1400" spc="1" dirty="0">
              <a:solidFill>
                <a:schemeClr val="tx2"/>
              </a:solidFill>
              <a:latin typeface="Alliance No.2" pitchFamily="50" charset="0"/>
            </a:endParaRPr>
          </a:p>
          <a:p>
            <a:pPr marL="177800" indent="-168275">
              <a:lnSpc>
                <a:spcPct val="116000"/>
              </a:lnSpc>
              <a:spcBef>
                <a:spcPts val="100"/>
              </a:spcBef>
              <a:buFont typeface="Arial" panose="020B0604020202020204" pitchFamily="34" charset="0"/>
              <a:buChar char="•"/>
              <a:defRPr/>
            </a:pPr>
            <a:r>
              <a:rPr lang="en-GB" sz="1400" spc="1" dirty="0">
                <a:solidFill>
                  <a:schemeClr val="tx2"/>
                </a:solidFill>
                <a:latin typeface="Alliance No.2" pitchFamily="50" charset="0"/>
              </a:rPr>
              <a:t>Lorem ipsum </a:t>
            </a:r>
            <a:r>
              <a:rPr lang="en-GB" sz="1400" spc="1" dirty="0" err="1">
                <a:solidFill>
                  <a:schemeClr val="tx2"/>
                </a:solidFill>
                <a:latin typeface="Alliance No.2" pitchFamily="50" charset="0"/>
              </a:rPr>
              <a:t>dolor</a:t>
            </a:r>
            <a:r>
              <a:rPr lang="en-GB" sz="1400" spc="1" dirty="0">
                <a:solidFill>
                  <a:schemeClr val="tx2"/>
                </a:solidFill>
                <a:latin typeface="Alliance No.2" pitchFamily="50" charset="0"/>
              </a:rPr>
              <a:t> sit </a:t>
            </a:r>
            <a:r>
              <a:rPr lang="en-GB" sz="1400" spc="1" dirty="0" err="1">
                <a:solidFill>
                  <a:schemeClr val="tx2"/>
                </a:solidFill>
                <a:latin typeface="Alliance No.2" pitchFamily="50" charset="0"/>
              </a:rPr>
              <a:t>amet</a:t>
            </a:r>
            <a:r>
              <a:rPr lang="en-GB" sz="1400" spc="1" dirty="0">
                <a:solidFill>
                  <a:schemeClr val="tx2"/>
                </a:solidFill>
                <a:latin typeface="Alliance No.2" pitchFamily="50" charset="0"/>
              </a:rPr>
              <a:t>, </a:t>
            </a:r>
            <a:r>
              <a:rPr lang="en-GB" sz="1400" spc="1" dirty="0" err="1">
                <a:solidFill>
                  <a:schemeClr val="tx2"/>
                </a:solidFill>
                <a:latin typeface="Alliance No.2" pitchFamily="50" charset="0"/>
              </a:rPr>
              <a:t>consectetuer</a:t>
            </a:r>
            <a:r>
              <a:rPr lang="en-GB" sz="1400" spc="1" dirty="0">
                <a:solidFill>
                  <a:schemeClr val="tx2"/>
                </a:solidFill>
                <a:latin typeface="Alliance No.2" pitchFamily="50" charset="0"/>
              </a:rPr>
              <a:t> </a:t>
            </a:r>
            <a:r>
              <a:rPr lang="en-GB" sz="1400" spc="1" dirty="0" err="1">
                <a:solidFill>
                  <a:schemeClr val="tx2"/>
                </a:solidFill>
                <a:latin typeface="Alliance No.2" pitchFamily="50" charset="0"/>
              </a:rPr>
              <a:t>adipiscing</a:t>
            </a:r>
            <a:r>
              <a:rPr lang="en-GB" sz="1400" spc="1" dirty="0">
                <a:solidFill>
                  <a:schemeClr val="tx2"/>
                </a:solidFill>
                <a:latin typeface="Alliance No.2" pitchFamily="50" charset="0"/>
              </a:rPr>
              <a:t> </a:t>
            </a:r>
            <a:r>
              <a:rPr lang="en-GB" sz="1400" spc="1" dirty="0" err="1">
                <a:solidFill>
                  <a:schemeClr val="tx2"/>
                </a:solidFill>
                <a:latin typeface="Alliance No.2" pitchFamily="50" charset="0"/>
              </a:rPr>
              <a:t>elit</a:t>
            </a:r>
            <a:endParaRPr lang="en-GB" sz="1400" spc="1" dirty="0">
              <a:solidFill>
                <a:schemeClr val="tx2"/>
              </a:solidFill>
              <a:latin typeface="Alliance No.2" pitchFamily="50" charset="0"/>
            </a:endParaRPr>
          </a:p>
          <a:p>
            <a:pPr marL="177800" indent="-168275">
              <a:lnSpc>
                <a:spcPct val="116000"/>
              </a:lnSpc>
              <a:spcBef>
                <a:spcPts val="100"/>
              </a:spcBef>
              <a:buFont typeface="Arial" panose="020B0604020202020204" pitchFamily="34" charset="0"/>
              <a:buChar char="•"/>
              <a:defRPr/>
            </a:pPr>
            <a:r>
              <a:rPr lang="en-GB" sz="1400" spc="1" dirty="0">
                <a:solidFill>
                  <a:schemeClr val="tx2"/>
                </a:solidFill>
                <a:latin typeface="Alliance No.2" pitchFamily="50" charset="0"/>
              </a:rPr>
              <a:t>Lorem ipsum </a:t>
            </a:r>
            <a:r>
              <a:rPr lang="en-GB" sz="1400" spc="1" dirty="0" err="1">
                <a:solidFill>
                  <a:schemeClr val="tx2"/>
                </a:solidFill>
                <a:latin typeface="Alliance No.2" pitchFamily="50" charset="0"/>
              </a:rPr>
              <a:t>dolor</a:t>
            </a:r>
            <a:r>
              <a:rPr lang="en-GB" sz="1400" spc="1" dirty="0">
                <a:solidFill>
                  <a:schemeClr val="tx2"/>
                </a:solidFill>
                <a:latin typeface="Alliance No.2" pitchFamily="50" charset="0"/>
              </a:rPr>
              <a:t> sit </a:t>
            </a:r>
            <a:r>
              <a:rPr lang="en-GB" sz="1400" spc="1" dirty="0" err="1">
                <a:solidFill>
                  <a:schemeClr val="tx2"/>
                </a:solidFill>
                <a:latin typeface="Alliance No.2" pitchFamily="50" charset="0"/>
              </a:rPr>
              <a:t>amet</a:t>
            </a:r>
            <a:r>
              <a:rPr lang="en-GB" sz="1400" spc="1" dirty="0">
                <a:solidFill>
                  <a:schemeClr val="tx2"/>
                </a:solidFill>
                <a:latin typeface="Alliance No.2" pitchFamily="50" charset="0"/>
              </a:rPr>
              <a:t>, </a:t>
            </a:r>
            <a:r>
              <a:rPr lang="en-GB" sz="1400" spc="1" dirty="0" err="1">
                <a:solidFill>
                  <a:schemeClr val="tx2"/>
                </a:solidFill>
                <a:latin typeface="Alliance No.2" pitchFamily="50" charset="0"/>
              </a:rPr>
              <a:t>consectetuer</a:t>
            </a:r>
            <a:r>
              <a:rPr lang="en-GB" sz="1400" spc="1" dirty="0">
                <a:solidFill>
                  <a:schemeClr val="tx2"/>
                </a:solidFill>
                <a:latin typeface="Alliance No.2" pitchFamily="50" charset="0"/>
              </a:rPr>
              <a:t> </a:t>
            </a:r>
            <a:r>
              <a:rPr lang="en-GB" sz="1400" spc="1" dirty="0" err="1">
                <a:solidFill>
                  <a:schemeClr val="tx2"/>
                </a:solidFill>
                <a:latin typeface="Alliance No.2" pitchFamily="50" charset="0"/>
              </a:rPr>
              <a:t>adipiscing</a:t>
            </a:r>
            <a:r>
              <a:rPr lang="en-GB" sz="1400" spc="1" dirty="0">
                <a:solidFill>
                  <a:schemeClr val="tx2"/>
                </a:solidFill>
                <a:latin typeface="Alliance No.2" pitchFamily="50" charset="0"/>
              </a:rPr>
              <a:t> </a:t>
            </a:r>
            <a:r>
              <a:rPr lang="en-GB" sz="1400" spc="1" dirty="0" err="1">
                <a:solidFill>
                  <a:schemeClr val="tx2"/>
                </a:solidFill>
                <a:latin typeface="Alliance No.2" pitchFamily="50" charset="0"/>
              </a:rPr>
              <a:t>elit</a:t>
            </a:r>
            <a:endParaRPr lang="en-GB" sz="1400" spc="1" dirty="0">
              <a:solidFill>
                <a:schemeClr val="tx2"/>
              </a:solidFill>
              <a:latin typeface="Alliance No.2" pitchFamily="50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C8E38A5-0293-4B13-E437-D2BFC95BEE86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87655" y="7437643"/>
            <a:ext cx="176169" cy="155443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SET_SIZE_ON_INSERT" val="195.3769,238.100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SET_SIZE_ON_INSERT" val="63.84551,41.7636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SET_SIZE_ON_INSERT" val="9.600866,9.600866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SET_SIZE_ON_INSERT" val="257.3023,402.7549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SET_SIZE_ON_INSERT" val="93.12,93.1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SET_SIZE_ON_INSERT" val="262.5,30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SET_SIZE_ON_INSERT" val="93.12,93.1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SET_SIZE_ON_INSERT" val="57.75,57.7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SET_SIZE_ON_INSERT" val="127.4841,83.2396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SET_SIZE_ON_INSERT" val="889.3888,688.4139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SET_SIZE_ON_INSERT" val="127.4841,83.2396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SET_SIZE_ON_INSERT" val="906.6367,442.4447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SET_SIZE_ON_INSERT" val="203.0576,295.7056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SET_SIZE_ON_INSERT" val="127.4841,83.2396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SET_SIZE_ON_INSERT" val="195.3769,132.011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SET_SIZE_ON_INSERT" val="195.3769,133.4516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SET_SIZE_ON_INSERT" val="87.84764,86.88756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SET_SIZE_ON_INSERT" val="127.4841,83.2396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SET_SIZE_ON_INSERT" val="38.25,38.2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SET_SIZE_ON_INSERT" val="195.3769,132.011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SET_SIZE_ON_INSERT" val="275.9655,272.216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SET_SIZE_ON_INSERT" val="575.5699,333.6289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SET_SIZE_ON_INSERT" val="195.3769,133.4516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SET_SIZE_ON_INSERT" val="87.84764,86.88756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SET_SIZE_ON_INSERT" val="38.25,38.2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SET_SIZE_ON_INSERT" val="160.3339,111.8497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SET_SIZE_ON_INSERT" val="161.774,168.9746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SET_SIZE_ON_INSERT" val="127.4841,83.2396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SET_SIZE_ON_INSERT" val="1460.067,531.683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SET_SIZE_ON_INSERT" val="38.25,38.2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SET_SIZE_ON_INSERT" val="63,63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SET_SIZE_ON_INSERT" val="127.4841,83.2396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SET_SIZE_ON_INSERT" val="18.74764,18.7476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SET_SIZE_ON_INSERT" val="1432.321,478.440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SET_SIZE_ON_INSERT" val="76.32661,49.4442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SET_SIZE_ON_INSERT" val="127.4841,83.2396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SET_SIZE_ON_INSERT" val="195.3769,161.77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SET_SIZE_ON_INSERT" val="38.25,38.2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SET_SIZE_ON_INSERT" val="195.3769,162.254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SET_SIZE_ON_INSERT" val="610.4237,506.9366"/>
</p:tagLst>
</file>

<file path=ppt/theme/theme1.xml><?xml version="1.0" encoding="utf-8"?>
<a:theme xmlns:a="http://schemas.openxmlformats.org/drawingml/2006/main" name="SCH flyer">
  <a:themeElements>
    <a:clrScheme name="SCH">
      <a:dk1>
        <a:srgbClr val="000014"/>
      </a:dk1>
      <a:lt1>
        <a:srgbClr val="FFFFFF"/>
      </a:lt1>
      <a:dk2>
        <a:srgbClr val="000000"/>
      </a:dk2>
      <a:lt2>
        <a:srgbClr val="E3E3E3"/>
      </a:lt2>
      <a:accent1>
        <a:srgbClr val="E0F0FD"/>
      </a:accent1>
      <a:accent2>
        <a:srgbClr val="1E7EEE"/>
      </a:accent2>
      <a:accent3>
        <a:srgbClr val="C0C0C0"/>
      </a:accent3>
      <a:accent4>
        <a:srgbClr val="EAEAEA"/>
      </a:accent4>
      <a:accent5>
        <a:srgbClr val="B2B2B2"/>
      </a:accent5>
      <a:accent6>
        <a:srgbClr val="5F5F5F"/>
      </a:accent6>
      <a:hlink>
        <a:srgbClr val="1E7EEE"/>
      </a:hlink>
      <a:folHlink>
        <a:srgbClr val="CCECFF"/>
      </a:folHlink>
    </a:clrScheme>
    <a:fontScheme name="Space Center Houston">
      <a:majorFont>
        <a:latin typeface="Alliance No.2 Medium"/>
        <a:ea typeface=""/>
        <a:cs typeface=""/>
      </a:majorFont>
      <a:minorFont>
        <a:latin typeface="Alliance No.2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</a:spPr>
      <a:bodyPr wrap="square" lIns="0" tIns="0" rIns="0" bIns="0" rtlCol="0"/>
      <a:lstStyle>
        <a:defPPr algn="l">
          <a:defRPr/>
        </a:defPPr>
      </a:lstStyle>
    </a:spDef>
    <a:lnDef>
      <a:spPr>
        <a:ln w="22225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 anchor="t">
        <a:noAutofit/>
      </a:bodyPr>
      <a:lstStyle>
        <a:defPPr algn="l">
          <a:lnSpc>
            <a:spcPct val="100000"/>
          </a:lnSpc>
          <a:spcBef>
            <a:spcPts val="600"/>
          </a:spcBef>
          <a:spcAft>
            <a:spcPts val="800"/>
          </a:spcAft>
          <a:defRPr spc="9" dirty="0">
            <a:solidFill>
              <a:srgbClr val="1C7EF2"/>
            </a:solidFill>
            <a:latin typeface="Alliance No.2 Medium" pitchFamily="50" charset="0"/>
            <a:cs typeface="Alliance No.2"/>
          </a:defRPr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7DBDDA4032FBB4495944CEF74B69C4E" ma:contentTypeVersion="17" ma:contentTypeDescription="Create a new document." ma:contentTypeScope="" ma:versionID="a0e8a34e1c296d736b068dd53f8caad1">
  <xsd:schema xmlns:xsd="http://www.w3.org/2001/XMLSchema" xmlns:xs="http://www.w3.org/2001/XMLSchema" xmlns:p="http://schemas.microsoft.com/office/2006/metadata/properties" xmlns:ns2="3e6a3e26-09bf-421d-9c6d-72538341295d" xmlns:ns3="a5bf85ab-5b89-45d5-812d-d881043611a5" targetNamespace="http://schemas.microsoft.com/office/2006/metadata/properties" ma:root="true" ma:fieldsID="8ea1d8899c3e992c3109c7c95e58f7fc" ns2:_="" ns3:_="">
    <xsd:import namespace="3e6a3e26-09bf-421d-9c6d-72538341295d"/>
    <xsd:import namespace="a5bf85ab-5b89-45d5-812d-d881043611a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e6a3e26-09bf-421d-9c6d-72538341295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af367377-cea2-4f59-9866-8491a8f07ab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bf85ab-5b89-45d5-812d-d881043611a5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0018993d-1d16-43cf-b63c-2f328976747f}" ma:internalName="TaxCatchAll" ma:showField="CatchAllData" ma:web="a5bf85ab-5b89-45d5-812d-d881043611a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3e6a3e26-09bf-421d-9c6d-72538341295d">
      <Terms xmlns="http://schemas.microsoft.com/office/infopath/2007/PartnerControls"/>
    </lcf76f155ced4ddcb4097134ff3c332f>
    <TaxCatchAll xmlns="a5bf85ab-5b89-45d5-812d-d881043611a5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715CA54-5070-4EEE-9B63-10550A6A93D8}">
  <ds:schemaRefs>
    <ds:schemaRef ds:uri="3e6a3e26-09bf-421d-9c6d-72538341295d"/>
    <ds:schemaRef ds:uri="a5bf85ab-5b89-45d5-812d-d881043611a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C1E4C243-F3E6-49CC-A102-98C5F6D538C0}">
  <ds:schemaRefs>
    <ds:schemaRef ds:uri="3e6a3e26-09bf-421d-9c6d-72538341295d"/>
    <ds:schemaRef ds:uri="a5bf85ab-5b89-45d5-812d-d881043611a5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066344F0-8256-4EFC-AE51-271ABB25EDA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2</TotalTime>
  <Words>1399</Words>
  <Application>Microsoft Macintosh PowerPoint</Application>
  <PresentationFormat>Custom</PresentationFormat>
  <Paragraphs>99</Paragraphs>
  <Slides>10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4" baseType="lpstr">
      <vt:lpstr>Alliance No.2</vt:lpstr>
      <vt:lpstr>Alliance No.2 Medium</vt:lpstr>
      <vt:lpstr>Arial</vt:lpstr>
      <vt:lpstr>SCH flyer</vt:lpstr>
      <vt:lpstr>Lorem ipsum dolor sit amet</vt:lpstr>
      <vt:lpstr>PowerPoint Presentation</vt:lpstr>
      <vt:lpstr>Lorum Ipsum Dolor sit amet</vt:lpstr>
      <vt:lpstr>Lorem ipsum dolor sit amet, consectetuer adipiscing</vt:lpstr>
      <vt:lpstr>PowerPoint Presentation</vt:lpstr>
      <vt:lpstr>Lorem ipsum dolor sit amet adipiscing</vt:lpstr>
      <vt:lpstr>Lorem ipsum dolor sit, amet consectetuer.</vt:lpstr>
      <vt:lpstr>Lorem ipsum dolor sit, amet consectetuer.</vt:lpstr>
      <vt:lpstr>Lorem ipsum dolor sit, amet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CH_PPT-Flyers_V3</dc:title>
  <cp:lastModifiedBy>Carlo Palazzolo</cp:lastModifiedBy>
  <cp:revision>4</cp:revision>
  <dcterms:created xsi:type="dcterms:W3CDTF">2023-06-15T15:01:00Z</dcterms:created>
  <dcterms:modified xsi:type="dcterms:W3CDTF">2023-06-23T18:49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3-06-15T00:00:00Z</vt:filetime>
  </property>
  <property fmtid="{D5CDD505-2E9C-101B-9397-08002B2CF9AE}" pid="3" name="Creator">
    <vt:lpwstr>Adobe Illustrator 25.4 (Windows)</vt:lpwstr>
  </property>
  <property fmtid="{D5CDD505-2E9C-101B-9397-08002B2CF9AE}" pid="4" name="LastSaved">
    <vt:filetime>2023-06-15T00:00:00Z</vt:filetime>
  </property>
  <property fmtid="{D5CDD505-2E9C-101B-9397-08002B2CF9AE}" pid="5" name="Producer">
    <vt:lpwstr>Adobe PDF library 16.00</vt:lpwstr>
  </property>
  <property fmtid="{D5CDD505-2E9C-101B-9397-08002B2CF9AE}" pid="6" name="ContentTypeId">
    <vt:lpwstr>0x01010057DBDDA4032FBB4495944CEF74B69C4E</vt:lpwstr>
  </property>
  <property fmtid="{D5CDD505-2E9C-101B-9397-08002B2CF9AE}" pid="7" name="MediaServiceImageTags">
    <vt:lpwstr/>
  </property>
</Properties>
</file>